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3"/>
  </p:notesMasterIdLst>
  <p:handoutMasterIdLst>
    <p:handoutMasterId r:id="rId44"/>
  </p:handoutMasterIdLst>
  <p:sldIdLst>
    <p:sldId id="317" r:id="rId5"/>
    <p:sldId id="345" r:id="rId6"/>
    <p:sldId id="260" r:id="rId7"/>
    <p:sldId id="319" r:id="rId8"/>
    <p:sldId id="346" r:id="rId9"/>
    <p:sldId id="342" r:id="rId10"/>
    <p:sldId id="324" r:id="rId11"/>
    <p:sldId id="326" r:id="rId12"/>
    <p:sldId id="366" r:id="rId13"/>
    <p:sldId id="364" r:id="rId14"/>
    <p:sldId id="367" r:id="rId15"/>
    <p:sldId id="349" r:id="rId16"/>
    <p:sldId id="368" r:id="rId17"/>
    <p:sldId id="334" r:id="rId18"/>
    <p:sldId id="369" r:id="rId19"/>
    <p:sldId id="370" r:id="rId20"/>
    <p:sldId id="371" r:id="rId21"/>
    <p:sldId id="330" r:id="rId22"/>
    <p:sldId id="372" r:id="rId23"/>
    <p:sldId id="358" r:id="rId24"/>
    <p:sldId id="377" r:id="rId25"/>
    <p:sldId id="332" r:id="rId26"/>
    <p:sldId id="360" r:id="rId27"/>
    <p:sldId id="359" r:id="rId28"/>
    <p:sldId id="375" r:id="rId29"/>
    <p:sldId id="350" r:id="rId30"/>
    <p:sldId id="376" r:id="rId31"/>
    <p:sldId id="365" r:id="rId32"/>
    <p:sldId id="361" r:id="rId33"/>
    <p:sldId id="384" r:id="rId34"/>
    <p:sldId id="378" r:id="rId35"/>
    <p:sldId id="383" r:id="rId36"/>
    <p:sldId id="382" r:id="rId37"/>
    <p:sldId id="362" r:id="rId38"/>
    <p:sldId id="381" r:id="rId39"/>
    <p:sldId id="380" r:id="rId40"/>
    <p:sldId id="385" r:id="rId41"/>
    <p:sldId id="315" r:id="rId42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B18"/>
    <a:srgbClr val="F5F5F5"/>
    <a:srgbClr val="FFFFFF"/>
    <a:srgbClr val="F4F4F4"/>
    <a:srgbClr val="28285A"/>
    <a:srgbClr val="484872"/>
    <a:srgbClr val="1DE9AE"/>
    <a:srgbClr val="52527A"/>
    <a:srgbClr val="53537B"/>
    <a:srgbClr val="CCE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F3857A-6011-984D-BCFB-F6CEB17D7916}" v="240" dt="2023-09-04T12:57:40.0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74" autoAdjust="0"/>
    <p:restoredTop sz="79438" autoAdjust="0"/>
  </p:normalViewPr>
  <p:slideViewPr>
    <p:cSldViewPr snapToGrid="0" showGuides="1">
      <p:cViewPr varScale="1">
        <p:scale>
          <a:sx n="123" d="100"/>
          <a:sy n="123" d="100"/>
        </p:scale>
        <p:origin x="872" y="184"/>
      </p:cViewPr>
      <p:guideLst>
        <p:guide orient="horz" pos="18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7" d="100"/>
          <a:sy n="117" d="100"/>
        </p:scale>
        <p:origin x="464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eran Baker" userId="5619c06d-f213-4eaf-af79-ea49a5258dc4" providerId="ADAL" clId="{C039E2A2-5900-904E-85C5-31C3BC09C9F5}"/>
    <pc:docChg chg="undo custSel addSld delSld modSld modMainMaster">
      <pc:chgData name="Kieran Baker" userId="5619c06d-f213-4eaf-af79-ea49a5258dc4" providerId="ADAL" clId="{C039E2A2-5900-904E-85C5-31C3BC09C9F5}" dt="2023-09-03T08:28:14.896" v="2252" actId="1582"/>
      <pc:docMkLst>
        <pc:docMk/>
      </pc:docMkLst>
      <pc:sldChg chg="addSp modSp mod">
        <pc:chgData name="Kieran Baker" userId="5619c06d-f213-4eaf-af79-ea49a5258dc4" providerId="ADAL" clId="{C039E2A2-5900-904E-85C5-31C3BC09C9F5}" dt="2023-09-01T10:08:50.609" v="59" actId="255"/>
        <pc:sldMkLst>
          <pc:docMk/>
          <pc:sldMk cId="2367101174" sldId="317"/>
        </pc:sldMkLst>
        <pc:spChg chg="mod">
          <ac:chgData name="Kieran Baker" userId="5619c06d-f213-4eaf-af79-ea49a5258dc4" providerId="ADAL" clId="{C039E2A2-5900-904E-85C5-31C3BC09C9F5}" dt="2023-09-01T10:07:51.188" v="3" actId="1076"/>
          <ac:spMkLst>
            <pc:docMk/>
            <pc:sldMk cId="2367101174" sldId="317"/>
            <ac:spMk id="2" creationId="{65198B76-A2AA-2C6F-4A04-97B60F52C054}"/>
          </ac:spMkLst>
        </pc:spChg>
        <pc:spChg chg="mod">
          <ac:chgData name="Kieran Baker" userId="5619c06d-f213-4eaf-af79-ea49a5258dc4" providerId="ADAL" clId="{C039E2A2-5900-904E-85C5-31C3BC09C9F5}" dt="2023-09-01T10:08:50.609" v="59" actId="255"/>
          <ac:spMkLst>
            <pc:docMk/>
            <pc:sldMk cId="2367101174" sldId="317"/>
            <ac:spMk id="3" creationId="{0E33A57D-2340-D870-69A5-F3A3E09811B9}"/>
          </ac:spMkLst>
        </pc:spChg>
        <pc:spChg chg="add mod">
          <ac:chgData name="Kieran Baker" userId="5619c06d-f213-4eaf-af79-ea49a5258dc4" providerId="ADAL" clId="{C039E2A2-5900-904E-85C5-31C3BC09C9F5}" dt="2023-09-01T10:08:44.471" v="58" actId="20577"/>
          <ac:spMkLst>
            <pc:docMk/>
            <pc:sldMk cId="2367101174" sldId="317"/>
            <ac:spMk id="4" creationId="{BCEB1316-8120-06FD-B90D-48FC3D2C9AE4}"/>
          </ac:spMkLst>
        </pc:spChg>
      </pc:sldChg>
      <pc:sldChg chg="modSp del mod">
        <pc:chgData name="Kieran Baker" userId="5619c06d-f213-4eaf-af79-ea49a5258dc4" providerId="ADAL" clId="{C039E2A2-5900-904E-85C5-31C3BC09C9F5}" dt="2023-09-01T11:43:32.819" v="1149" actId="2696"/>
        <pc:sldMkLst>
          <pc:docMk/>
          <pc:sldMk cId="3677841689" sldId="318"/>
        </pc:sldMkLst>
        <pc:spChg chg="mod">
          <ac:chgData name="Kieran Baker" userId="5619c06d-f213-4eaf-af79-ea49a5258dc4" providerId="ADAL" clId="{C039E2A2-5900-904E-85C5-31C3BC09C9F5}" dt="2023-09-01T10:17:06.138" v="60" actId="14100"/>
          <ac:spMkLst>
            <pc:docMk/>
            <pc:sldMk cId="3677841689" sldId="318"/>
            <ac:spMk id="2" creationId="{9FBCDD84-4FA0-02BE-444E-B88E8E91A5C9}"/>
          </ac:spMkLst>
        </pc:spChg>
      </pc:sldChg>
      <pc:sldChg chg="del">
        <pc:chgData name="Kieran Baker" userId="5619c06d-f213-4eaf-af79-ea49a5258dc4" providerId="ADAL" clId="{C039E2A2-5900-904E-85C5-31C3BC09C9F5}" dt="2023-09-01T11:43:29.615" v="1148" actId="2696"/>
        <pc:sldMkLst>
          <pc:docMk/>
          <pc:sldMk cId="1964911407" sldId="322"/>
        </pc:sldMkLst>
      </pc:sldChg>
      <pc:sldChg chg="addSp delSp modSp mod">
        <pc:chgData name="Kieran Baker" userId="5619c06d-f213-4eaf-af79-ea49a5258dc4" providerId="ADAL" clId="{C039E2A2-5900-904E-85C5-31C3BC09C9F5}" dt="2023-09-02T10:13:52.277" v="2235" actId="692"/>
        <pc:sldMkLst>
          <pc:docMk/>
          <pc:sldMk cId="2115063339" sldId="324"/>
        </pc:sldMkLst>
        <pc:spChg chg="del mod">
          <ac:chgData name="Kieran Baker" userId="5619c06d-f213-4eaf-af79-ea49a5258dc4" providerId="ADAL" clId="{C039E2A2-5900-904E-85C5-31C3BC09C9F5}" dt="2023-09-02T10:12:32.882" v="2230" actId="478"/>
          <ac:spMkLst>
            <pc:docMk/>
            <pc:sldMk cId="2115063339" sldId="324"/>
            <ac:spMk id="3" creationId="{FC1168EB-DD90-4A06-9DB9-4FC9BE4EBBF3}"/>
          </ac:spMkLst>
        </pc:spChg>
        <pc:spChg chg="add mod">
          <ac:chgData name="Kieran Baker" userId="5619c06d-f213-4eaf-af79-ea49a5258dc4" providerId="ADAL" clId="{C039E2A2-5900-904E-85C5-31C3BC09C9F5}" dt="2023-09-02T10:04:37.570" v="2177" actId="1076"/>
          <ac:spMkLst>
            <pc:docMk/>
            <pc:sldMk cId="2115063339" sldId="324"/>
            <ac:spMk id="9" creationId="{BB3FF7AD-2AB7-89E6-08D5-3B69A95A608F}"/>
          </ac:spMkLst>
        </pc:spChg>
        <pc:spChg chg="add mod">
          <ac:chgData name="Kieran Baker" userId="5619c06d-f213-4eaf-af79-ea49a5258dc4" providerId="ADAL" clId="{C039E2A2-5900-904E-85C5-31C3BC09C9F5}" dt="2023-09-02T10:04:37.570" v="2177" actId="1076"/>
          <ac:spMkLst>
            <pc:docMk/>
            <pc:sldMk cId="2115063339" sldId="324"/>
            <ac:spMk id="10" creationId="{C180A482-AB03-31AB-662F-57F4836F366E}"/>
          </ac:spMkLst>
        </pc:spChg>
        <pc:spChg chg="add mod">
          <ac:chgData name="Kieran Baker" userId="5619c06d-f213-4eaf-af79-ea49a5258dc4" providerId="ADAL" clId="{C039E2A2-5900-904E-85C5-31C3BC09C9F5}" dt="2023-09-02T10:11:54.688" v="2224" actId="1076"/>
          <ac:spMkLst>
            <pc:docMk/>
            <pc:sldMk cId="2115063339" sldId="324"/>
            <ac:spMk id="19" creationId="{924C0B35-DB37-9174-7384-ECC652907263}"/>
          </ac:spMkLst>
        </pc:spChg>
        <pc:spChg chg="add del mod">
          <ac:chgData name="Kieran Baker" userId="5619c06d-f213-4eaf-af79-ea49a5258dc4" providerId="ADAL" clId="{C039E2A2-5900-904E-85C5-31C3BC09C9F5}" dt="2023-09-02T10:13:15.155" v="2232" actId="478"/>
          <ac:spMkLst>
            <pc:docMk/>
            <pc:sldMk cId="2115063339" sldId="324"/>
            <ac:spMk id="21" creationId="{97E2EE1D-A43E-C3C7-4251-40900B86A097}"/>
          </ac:spMkLst>
        </pc:spChg>
        <pc:picChg chg="add mod">
          <ac:chgData name="Kieran Baker" userId="5619c06d-f213-4eaf-af79-ea49a5258dc4" providerId="ADAL" clId="{C039E2A2-5900-904E-85C5-31C3BC09C9F5}" dt="2023-09-02T10:04:48.323" v="2179" actId="1076"/>
          <ac:picMkLst>
            <pc:docMk/>
            <pc:sldMk cId="2115063339" sldId="324"/>
            <ac:picMk id="11" creationId="{0C3C56B4-7AAA-70C5-4627-410155FDFCB2}"/>
          </ac:picMkLst>
        </pc:picChg>
        <pc:picChg chg="add mod">
          <ac:chgData name="Kieran Baker" userId="5619c06d-f213-4eaf-af79-ea49a5258dc4" providerId="ADAL" clId="{C039E2A2-5900-904E-85C5-31C3BC09C9F5}" dt="2023-09-02T10:05:46.922" v="2195" actId="1076"/>
          <ac:picMkLst>
            <pc:docMk/>
            <pc:sldMk cId="2115063339" sldId="324"/>
            <ac:picMk id="12" creationId="{569ECCCE-DA98-D14A-F804-D3DBE77BB10D}"/>
          </ac:picMkLst>
        </pc:picChg>
        <pc:picChg chg="add mod">
          <ac:chgData name="Kieran Baker" userId="5619c06d-f213-4eaf-af79-ea49a5258dc4" providerId="ADAL" clId="{C039E2A2-5900-904E-85C5-31C3BC09C9F5}" dt="2023-09-02T10:05:51.113" v="2196" actId="1076"/>
          <ac:picMkLst>
            <pc:docMk/>
            <pc:sldMk cId="2115063339" sldId="324"/>
            <ac:picMk id="13" creationId="{5A15DA86-219B-7637-F69B-B6C2A5D97B43}"/>
          </ac:picMkLst>
        </pc:picChg>
        <pc:picChg chg="add mod">
          <ac:chgData name="Kieran Baker" userId="5619c06d-f213-4eaf-af79-ea49a5258dc4" providerId="ADAL" clId="{C039E2A2-5900-904E-85C5-31C3BC09C9F5}" dt="2023-09-02T10:05:44.686" v="2194" actId="1076"/>
          <ac:picMkLst>
            <pc:docMk/>
            <pc:sldMk cId="2115063339" sldId="324"/>
            <ac:picMk id="14" creationId="{AD9C1EE5-FA03-E29A-1CC6-5D226FD0EEBD}"/>
          </ac:picMkLst>
        </pc:picChg>
        <pc:picChg chg="add mod">
          <ac:chgData name="Kieran Baker" userId="5619c06d-f213-4eaf-af79-ea49a5258dc4" providerId="ADAL" clId="{C039E2A2-5900-904E-85C5-31C3BC09C9F5}" dt="2023-09-02T10:05:58.367" v="2198" actId="1076"/>
          <ac:picMkLst>
            <pc:docMk/>
            <pc:sldMk cId="2115063339" sldId="324"/>
            <ac:picMk id="15" creationId="{E83C193F-59CD-A5BC-902A-0280FB813AA1}"/>
          </ac:picMkLst>
        </pc:picChg>
        <pc:picChg chg="add mod">
          <ac:chgData name="Kieran Baker" userId="5619c06d-f213-4eaf-af79-ea49a5258dc4" providerId="ADAL" clId="{C039E2A2-5900-904E-85C5-31C3BC09C9F5}" dt="2023-09-02T10:05:54.419" v="2197" actId="1076"/>
          <ac:picMkLst>
            <pc:docMk/>
            <pc:sldMk cId="2115063339" sldId="324"/>
            <ac:picMk id="16" creationId="{D63C42F2-E218-4076-A2DD-803D238E44EF}"/>
          </ac:picMkLst>
        </pc:picChg>
        <pc:picChg chg="add mod">
          <ac:chgData name="Kieran Baker" userId="5619c06d-f213-4eaf-af79-ea49a5258dc4" providerId="ADAL" clId="{C039E2A2-5900-904E-85C5-31C3BC09C9F5}" dt="2023-09-02T10:12:19.729" v="2229" actId="1076"/>
          <ac:picMkLst>
            <pc:docMk/>
            <pc:sldMk cId="2115063339" sldId="324"/>
            <ac:picMk id="17" creationId="{F3A43CF2-18D9-669A-43BC-4F18DF9AF64F}"/>
          </ac:picMkLst>
        </pc:picChg>
        <pc:picChg chg="add mod">
          <ac:chgData name="Kieran Baker" userId="5619c06d-f213-4eaf-af79-ea49a5258dc4" providerId="ADAL" clId="{C039E2A2-5900-904E-85C5-31C3BC09C9F5}" dt="2023-09-02T10:12:16.847" v="2228" actId="1076"/>
          <ac:picMkLst>
            <pc:docMk/>
            <pc:sldMk cId="2115063339" sldId="324"/>
            <ac:picMk id="2050" creationId="{5EAE3446-DE84-E72A-1CC7-00ED8E1B43F9}"/>
          </ac:picMkLst>
        </pc:picChg>
        <pc:picChg chg="add mod">
          <ac:chgData name="Kieran Baker" userId="5619c06d-f213-4eaf-af79-ea49a5258dc4" providerId="ADAL" clId="{C039E2A2-5900-904E-85C5-31C3BC09C9F5}" dt="2023-09-02T10:12:01.427" v="2225" actId="1076"/>
          <ac:picMkLst>
            <pc:docMk/>
            <pc:sldMk cId="2115063339" sldId="324"/>
            <ac:picMk id="2052" creationId="{4F359032-00CA-A275-91D4-ED79761D85B5}"/>
          </ac:picMkLst>
        </pc:picChg>
        <pc:cxnChg chg="add del mod">
          <ac:chgData name="Kieran Baker" userId="5619c06d-f213-4eaf-af79-ea49a5258dc4" providerId="ADAL" clId="{C039E2A2-5900-904E-85C5-31C3BC09C9F5}" dt="2023-09-02T10:13:52.277" v="2235" actId="692"/>
          <ac:cxnSpMkLst>
            <pc:docMk/>
            <pc:sldMk cId="2115063339" sldId="324"/>
            <ac:cxnSpMk id="8" creationId="{1F757ED4-FC10-E7F9-D510-73352B865CB7}"/>
          </ac:cxnSpMkLst>
        </pc:cxnChg>
      </pc:sldChg>
      <pc:sldChg chg="addSp delSp modSp mod modNotesTx">
        <pc:chgData name="Kieran Baker" userId="5619c06d-f213-4eaf-af79-ea49a5258dc4" providerId="ADAL" clId="{C039E2A2-5900-904E-85C5-31C3BC09C9F5}" dt="2023-09-02T10:00:43.475" v="1890" actId="20577"/>
        <pc:sldMkLst>
          <pc:docMk/>
          <pc:sldMk cId="387189610" sldId="342"/>
        </pc:sldMkLst>
        <pc:spChg chg="del mod">
          <ac:chgData name="Kieran Baker" userId="5619c06d-f213-4eaf-af79-ea49a5258dc4" providerId="ADAL" clId="{C039E2A2-5900-904E-85C5-31C3BC09C9F5}" dt="2023-09-02T09:41:28.755" v="1521" actId="478"/>
          <ac:spMkLst>
            <pc:docMk/>
            <pc:sldMk cId="387189610" sldId="342"/>
            <ac:spMk id="3" creationId="{83512AFD-E5CE-4D4E-B9A7-8D4DC108095D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5" creationId="{B642710F-5152-4325-9C13-587EDA83AC3A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6" creationId="{B6B12836-90DC-4180-A76F-4E574EC6B3B5}"/>
          </ac:spMkLst>
        </pc:spChg>
        <pc:spChg chg="del mod">
          <ac:chgData name="Kieran Baker" userId="5619c06d-f213-4eaf-af79-ea49a5258dc4" providerId="ADAL" clId="{C039E2A2-5900-904E-85C5-31C3BC09C9F5}" dt="2023-09-02T09:26:28.803" v="1285" actId="478"/>
          <ac:spMkLst>
            <pc:docMk/>
            <pc:sldMk cId="387189610" sldId="342"/>
            <ac:spMk id="8" creationId="{49C6E123-59A7-458F-8744-E0CD0D088DD9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1" creationId="{268B8AAD-7AC5-4C2C-9A3C-BD91C30760FF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2" creationId="{E2BAA271-0D52-4222-B518-AE9B6E2C5D21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3" creationId="{53711D0B-9CBA-46D1-EF52-878CA394DBD7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4" creationId="{CBD63DC1-FE30-E1AC-801F-C28BD64CF06C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5" creationId="{9D123657-64A3-9000-311F-6589456C3AC7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6" creationId="{5E73F707-5A80-E8F6-04E7-AFAFE5DE80FC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7" creationId="{F04CA731-E3B7-B51B-54AB-4FC0439754C6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8" creationId="{33C1E9F2-4A23-9AC9-7DB7-7BEAFC33D0D3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9" creationId="{352D1831-ADA9-55A1-76B0-83A4BA2A33FC}"/>
          </ac:spMkLst>
        </pc:spChg>
        <pc:spChg chg="del mod">
          <ac:chgData name="Kieran Baker" userId="5619c06d-f213-4eaf-af79-ea49a5258dc4" providerId="ADAL" clId="{C039E2A2-5900-904E-85C5-31C3BC09C9F5}" dt="2023-09-02T09:58:16.130" v="1797" actId="478"/>
          <ac:spMkLst>
            <pc:docMk/>
            <pc:sldMk cId="387189610" sldId="342"/>
            <ac:spMk id="20" creationId="{D35714FD-9EAE-ED07-0829-269F68F5607B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1" creationId="{9294BC6B-C7E2-2B8D-889F-CB958BA96BBA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3" creationId="{EF736D13-91F0-D92C-1C2C-4D16F13DDA6A}"/>
          </ac:spMkLst>
        </pc:spChg>
        <pc:spChg chg="add mod">
          <ac:chgData name="Kieran Baker" userId="5619c06d-f213-4eaf-af79-ea49a5258dc4" providerId="ADAL" clId="{C039E2A2-5900-904E-85C5-31C3BC09C9F5}" dt="2023-09-02T09:41:29.156" v="1522"/>
          <ac:spMkLst>
            <pc:docMk/>
            <pc:sldMk cId="387189610" sldId="342"/>
            <ac:spMk id="24" creationId="{08B0F7B5-5D6D-931E-0F2E-E21E61CE256C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7" creationId="{98CA4D2A-EB73-BF01-7679-DB73D86A69D7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8" creationId="{8596012F-5560-A888-A0D1-5FA06F1FC734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9" creationId="{73D15169-658E-C1C9-CCC9-F9480A8EB8D1}"/>
          </ac:spMkLst>
        </pc:spChg>
        <pc:spChg chg="add mod">
          <ac:chgData name="Kieran Baker" userId="5619c06d-f213-4eaf-af79-ea49a5258dc4" providerId="ADAL" clId="{C039E2A2-5900-904E-85C5-31C3BC09C9F5}" dt="2023-09-02T10:00:43.475" v="1890" actId="20577"/>
          <ac:spMkLst>
            <pc:docMk/>
            <pc:sldMk cId="387189610" sldId="342"/>
            <ac:spMk id="30" creationId="{E081E998-9F67-3D96-4DFE-FB909FFB49EA}"/>
          </ac:spMkLst>
        </pc:sp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7" creationId="{F94192A1-0D29-9B6B-0B21-742AF019CC91}"/>
          </ac:picMkLst>
        </pc:picChg>
        <pc:picChg chg="add mod">
          <ac:chgData name="Kieran Baker" userId="5619c06d-f213-4eaf-af79-ea49a5258dc4" providerId="ADAL" clId="{C039E2A2-5900-904E-85C5-31C3BC09C9F5}" dt="2023-09-02T09:59:04.771" v="1806" actId="1037"/>
          <ac:picMkLst>
            <pc:docMk/>
            <pc:sldMk cId="387189610" sldId="342"/>
            <ac:picMk id="9" creationId="{A9B759D8-040D-956B-7E3D-0CB65C1AE7B9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" creationId="{55927E94-92FC-9931-CE11-691815CD8221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26" creationId="{2AAA579F-8ADE-1295-CDA7-05F363E92884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28" creationId="{9CECC2F9-768C-BD21-F270-678467F1EF0F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0" creationId="{37E57725-CF67-10DD-A204-0A4BD6FA6189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2" creationId="{4AA64B56-E1B3-FDF0-8FFA-A8A214870286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4" creationId="{B689D5DC-5C5F-AB0F-A41D-0B2BAB368F7E}"/>
          </ac:picMkLst>
        </pc:picChg>
        <pc:picChg chg="add del">
          <ac:chgData name="Kieran Baker" userId="5619c06d-f213-4eaf-af79-ea49a5258dc4" providerId="ADAL" clId="{C039E2A2-5900-904E-85C5-31C3BC09C9F5}" dt="2023-09-02T09:24:05.348" v="1220" actId="478"/>
          <ac:picMkLst>
            <pc:docMk/>
            <pc:sldMk cId="387189610" sldId="342"/>
            <ac:picMk id="1036" creationId="{66A005EB-3EE0-7F04-F109-2FF8EAF32D7C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8" creationId="{E21D3DCA-CD9B-3059-AE61-F8B75768F44B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0" creationId="{A3C97A42-C928-9D82-A21B-2FD094DBEE3F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2" creationId="{A5D9A004-C5ED-E0B1-F930-3275FFF9F5E4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4" creationId="{98EDB991-B34F-4989-98B2-EE29C7123FBC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6" creationId="{8C047D4B-8CC2-FEB3-1A6D-D554CF27E856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8" creationId="{3A562881-33F4-322F-7F0E-1964FEC619E7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0" creationId="{D93B4EE2-3C4B-A645-F0BC-E8C206D2B5FD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2" creationId="{97DB558A-2BD6-C626-C59D-D6CC3505485D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4" creationId="{7A0F4D43-7705-F832-42B4-EA7E7BEE3907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6" creationId="{73754B31-A8AB-C3E6-A963-BE8E4A0ADD52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8" creationId="{77D412F8-C5F8-8001-6342-6B546EAA2350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0" creationId="{76920663-6EAC-8E8D-82D1-8141CF49DCD6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2" creationId="{9762885B-D09D-3CF9-63AF-D304F0B64302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4" creationId="{A8B12287-83CD-1807-1CBC-C98F174B7B42}"/>
          </ac:picMkLst>
        </pc:picChg>
        <pc:picChg chg="add del">
          <ac:chgData name="Kieran Baker" userId="5619c06d-f213-4eaf-af79-ea49a5258dc4" providerId="ADAL" clId="{C039E2A2-5900-904E-85C5-31C3BC09C9F5}" dt="2023-09-02T09:53:01.965" v="1672" actId="478"/>
          <ac:picMkLst>
            <pc:docMk/>
            <pc:sldMk cId="387189610" sldId="342"/>
            <ac:picMk id="1066" creationId="{7F9B652D-07C1-21FF-5F61-211B24497DB3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8" creationId="{53CB3D13-BDB4-E797-DAB4-43850B217E32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70" creationId="{939178A5-EA36-77E1-87F1-D3AE39EA0B3D}"/>
          </ac:picMkLst>
        </pc:picChg>
        <pc:cxnChg chg="add mod">
          <ac:chgData name="Kieran Baker" userId="5619c06d-f213-4eaf-af79-ea49a5258dc4" providerId="ADAL" clId="{C039E2A2-5900-904E-85C5-31C3BC09C9F5}" dt="2023-09-02T09:58:26.333" v="1805" actId="1035"/>
          <ac:cxnSpMkLst>
            <pc:docMk/>
            <pc:sldMk cId="387189610" sldId="342"/>
            <ac:cxnSpMk id="26" creationId="{818356A1-5436-8782-99A0-DD39F3E948F9}"/>
          </ac:cxnSpMkLst>
        </pc:cxnChg>
      </pc:sldChg>
      <pc:sldChg chg="addSp delSp modSp add mod">
        <pc:chgData name="Kieran Baker" userId="5619c06d-f213-4eaf-af79-ea49a5258dc4" providerId="ADAL" clId="{C039E2A2-5900-904E-85C5-31C3BC09C9F5}" dt="2023-09-01T12:03:20.776" v="1152" actId="14100"/>
        <pc:sldMkLst>
          <pc:docMk/>
          <pc:sldMk cId="2256222032" sldId="345"/>
        </pc:sldMkLst>
        <pc:spChg chg="del">
          <ac:chgData name="Kieran Baker" userId="5619c06d-f213-4eaf-af79-ea49a5258dc4" providerId="ADAL" clId="{C039E2A2-5900-904E-85C5-31C3BC09C9F5}" dt="2023-09-01T10:17:28.652" v="62" actId="478"/>
          <ac:spMkLst>
            <pc:docMk/>
            <pc:sldMk cId="2256222032" sldId="345"/>
            <ac:spMk id="5" creationId="{C4D3C067-25D2-1101-822B-FB7EAEF69564}"/>
          </ac:spMkLst>
        </pc:spChg>
        <pc:spChg chg="del">
          <ac:chgData name="Kieran Baker" userId="5619c06d-f213-4eaf-af79-ea49a5258dc4" providerId="ADAL" clId="{C039E2A2-5900-904E-85C5-31C3BC09C9F5}" dt="2023-09-01T10:17:28.652" v="62" actId="478"/>
          <ac:spMkLst>
            <pc:docMk/>
            <pc:sldMk cId="2256222032" sldId="345"/>
            <ac:spMk id="6" creationId="{17EEA358-1055-9A14-8A3F-6ED511A5C616}"/>
          </ac:spMkLst>
        </pc:spChg>
        <pc:spChg chg="del">
          <ac:chgData name="Kieran Baker" userId="5619c06d-f213-4eaf-af79-ea49a5258dc4" providerId="ADAL" clId="{C039E2A2-5900-904E-85C5-31C3BC09C9F5}" dt="2023-09-01T10:17:28.652" v="62" actId="478"/>
          <ac:spMkLst>
            <pc:docMk/>
            <pc:sldMk cId="2256222032" sldId="345"/>
            <ac:spMk id="7" creationId="{39E2B171-CCF1-9349-15AA-7EA8A1C75D90}"/>
          </ac:spMkLst>
        </pc:spChg>
        <pc:spChg chg="del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8" creationId="{19FF84CC-B15D-B942-6CDB-6574702A8AF3}"/>
          </ac:spMkLst>
        </pc:spChg>
        <pc:spChg chg="del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9" creationId="{D65DE906-1CF0-7F80-D59E-0BEAA06E9032}"/>
          </ac:spMkLst>
        </pc:spChg>
        <pc:spChg chg="del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0" creationId="{E571A6CD-A070-08DE-0CAB-250105797D65}"/>
          </ac:spMkLst>
        </pc:spChg>
        <pc:spChg chg="add del mod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2" creationId="{95821903-98D5-D5FE-5511-E529245B7E9E}"/>
          </ac:spMkLst>
        </pc:spChg>
        <pc:spChg chg="add del mod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4" creationId="{11ABB41C-D0F9-417C-E5B0-20B9BAE5CE6C}"/>
          </ac:spMkLst>
        </pc:spChg>
        <pc:spChg chg="add del mod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6" creationId="{77689046-42C0-9881-A232-6166A8ED4DF2}"/>
          </ac:spMkLst>
        </pc:spChg>
        <pc:spChg chg="add del mod">
          <ac:chgData name="Kieran Baker" userId="5619c06d-f213-4eaf-af79-ea49a5258dc4" providerId="ADAL" clId="{C039E2A2-5900-904E-85C5-31C3BC09C9F5}" dt="2023-09-01T10:17:34.181" v="64" actId="478"/>
          <ac:spMkLst>
            <pc:docMk/>
            <pc:sldMk cId="2256222032" sldId="345"/>
            <ac:spMk id="18" creationId="{092C38A7-E113-161F-AAA3-7EC8EDC8FD7B}"/>
          </ac:spMkLst>
        </pc:spChg>
        <pc:spChg chg="add del mod">
          <ac:chgData name="Kieran Baker" userId="5619c06d-f213-4eaf-af79-ea49a5258dc4" providerId="ADAL" clId="{C039E2A2-5900-904E-85C5-31C3BC09C9F5}" dt="2023-09-01T10:17:34.181" v="64" actId="478"/>
          <ac:spMkLst>
            <pc:docMk/>
            <pc:sldMk cId="2256222032" sldId="345"/>
            <ac:spMk id="20" creationId="{06B79FF0-A468-C309-E082-9CC43F9301E4}"/>
          </ac:spMkLst>
        </pc:spChg>
        <pc:spChg chg="add del mod">
          <ac:chgData name="Kieran Baker" userId="5619c06d-f213-4eaf-af79-ea49a5258dc4" providerId="ADAL" clId="{C039E2A2-5900-904E-85C5-31C3BC09C9F5}" dt="2023-09-01T10:17:34.181" v="64" actId="478"/>
          <ac:spMkLst>
            <pc:docMk/>
            <pc:sldMk cId="2256222032" sldId="345"/>
            <ac:spMk id="22" creationId="{81773DB8-8775-A4AA-09E1-D4846E9FFD60}"/>
          </ac:spMkLst>
        </pc:spChg>
        <pc:spChg chg="add mod">
          <ac:chgData name="Kieran Baker" userId="5619c06d-f213-4eaf-af79-ea49a5258dc4" providerId="ADAL" clId="{C039E2A2-5900-904E-85C5-31C3BC09C9F5}" dt="2023-09-01T10:20:29.312" v="118" actId="1582"/>
          <ac:spMkLst>
            <pc:docMk/>
            <pc:sldMk cId="2256222032" sldId="345"/>
            <ac:spMk id="23" creationId="{F59F68DE-6E7E-3246-2671-C5420BE3F2B3}"/>
          </ac:spMkLst>
        </pc:spChg>
        <pc:spChg chg="add del mod">
          <ac:chgData name="Kieran Baker" userId="5619c06d-f213-4eaf-af79-ea49a5258dc4" providerId="ADAL" clId="{C039E2A2-5900-904E-85C5-31C3BC09C9F5}" dt="2023-09-01T10:18:22.367" v="78" actId="478"/>
          <ac:spMkLst>
            <pc:docMk/>
            <pc:sldMk cId="2256222032" sldId="345"/>
            <ac:spMk id="24" creationId="{CCD69427-E814-D1B4-C812-A68AC330B734}"/>
          </ac:spMkLst>
        </pc:spChg>
        <pc:spChg chg="add mod">
          <ac:chgData name="Kieran Baker" userId="5619c06d-f213-4eaf-af79-ea49a5258dc4" providerId="ADAL" clId="{C039E2A2-5900-904E-85C5-31C3BC09C9F5}" dt="2023-09-01T12:03:20.776" v="1152" actId="14100"/>
          <ac:spMkLst>
            <pc:docMk/>
            <pc:sldMk cId="2256222032" sldId="345"/>
            <ac:spMk id="25" creationId="{66E9DF78-DC98-FA5F-22A0-529CE7C3244C}"/>
          </ac:spMkLst>
        </pc:spChg>
        <pc:spChg chg="add del mod">
          <ac:chgData name="Kieran Baker" userId="5619c06d-f213-4eaf-af79-ea49a5258dc4" providerId="ADAL" clId="{C039E2A2-5900-904E-85C5-31C3BC09C9F5}" dt="2023-09-01T10:18:06.371" v="74" actId="478"/>
          <ac:spMkLst>
            <pc:docMk/>
            <pc:sldMk cId="2256222032" sldId="345"/>
            <ac:spMk id="26" creationId="{3E6725C4-5226-3DC7-1466-84443618FC3C}"/>
          </ac:spMkLst>
        </pc:spChg>
        <pc:spChg chg="add del mod">
          <ac:chgData name="Kieran Baker" userId="5619c06d-f213-4eaf-af79-ea49a5258dc4" providerId="ADAL" clId="{C039E2A2-5900-904E-85C5-31C3BC09C9F5}" dt="2023-09-01T10:18:23.357" v="79" actId="478"/>
          <ac:spMkLst>
            <pc:docMk/>
            <pc:sldMk cId="2256222032" sldId="345"/>
            <ac:spMk id="27" creationId="{E1493727-8EDB-CB99-52F5-42380FD69275}"/>
          </ac:spMkLst>
        </pc:spChg>
        <pc:spChg chg="add mod">
          <ac:chgData name="Kieran Baker" userId="5619c06d-f213-4eaf-af79-ea49a5258dc4" providerId="ADAL" clId="{C039E2A2-5900-904E-85C5-31C3BC09C9F5}" dt="2023-09-01T10:20:29.312" v="118" actId="1582"/>
          <ac:spMkLst>
            <pc:docMk/>
            <pc:sldMk cId="2256222032" sldId="345"/>
            <ac:spMk id="28" creationId="{C67D5C0C-4111-3651-C7CE-5821593E05CF}"/>
          </ac:spMkLst>
        </pc:spChg>
        <pc:spChg chg="add mod">
          <ac:chgData name="Kieran Baker" userId="5619c06d-f213-4eaf-af79-ea49a5258dc4" providerId="ADAL" clId="{C039E2A2-5900-904E-85C5-31C3BC09C9F5}" dt="2023-09-01T10:20:29.312" v="118" actId="1582"/>
          <ac:spMkLst>
            <pc:docMk/>
            <pc:sldMk cId="2256222032" sldId="345"/>
            <ac:spMk id="29" creationId="{C099BD68-4709-0196-3C09-E3D91026418C}"/>
          </ac:spMkLst>
        </pc:spChg>
        <pc:spChg chg="add mod">
          <ac:chgData name="Kieran Baker" userId="5619c06d-f213-4eaf-af79-ea49a5258dc4" providerId="ADAL" clId="{C039E2A2-5900-904E-85C5-31C3BC09C9F5}" dt="2023-09-01T10:28:36.535" v="476" actId="12789"/>
          <ac:spMkLst>
            <pc:docMk/>
            <pc:sldMk cId="2256222032" sldId="345"/>
            <ac:spMk id="30" creationId="{72F42FFB-2562-A460-3FF9-2C173952E6C5}"/>
          </ac:spMkLst>
        </pc:spChg>
        <pc:spChg chg="add mod">
          <ac:chgData name="Kieran Baker" userId="5619c06d-f213-4eaf-af79-ea49a5258dc4" providerId="ADAL" clId="{C039E2A2-5900-904E-85C5-31C3BC09C9F5}" dt="2023-09-01T10:21:14.106" v="141" actId="1076"/>
          <ac:spMkLst>
            <pc:docMk/>
            <pc:sldMk cId="2256222032" sldId="345"/>
            <ac:spMk id="35" creationId="{0C4C63E1-AE11-A977-2CE0-C30F46500263}"/>
          </ac:spMkLst>
        </pc:spChg>
        <pc:spChg chg="add mod">
          <ac:chgData name="Kieran Baker" userId="5619c06d-f213-4eaf-af79-ea49a5258dc4" providerId="ADAL" clId="{C039E2A2-5900-904E-85C5-31C3BC09C9F5}" dt="2023-09-01T10:21:19.551" v="143" actId="1076"/>
          <ac:spMkLst>
            <pc:docMk/>
            <pc:sldMk cId="2256222032" sldId="345"/>
            <ac:spMk id="36" creationId="{F9A16E28-12BC-81AD-01C3-229B3EE52ECF}"/>
          </ac:spMkLst>
        </pc:spChg>
        <pc:spChg chg="add mod">
          <ac:chgData name="Kieran Baker" userId="5619c06d-f213-4eaf-af79-ea49a5258dc4" providerId="ADAL" clId="{C039E2A2-5900-904E-85C5-31C3BC09C9F5}" dt="2023-09-01T10:21:25.132" v="145" actId="1076"/>
          <ac:spMkLst>
            <pc:docMk/>
            <pc:sldMk cId="2256222032" sldId="345"/>
            <ac:spMk id="37" creationId="{FB00FBE0-3C34-B530-ECC9-E52F63999F36}"/>
          </ac:spMkLst>
        </pc:spChg>
        <pc:spChg chg="add mod">
          <ac:chgData name="Kieran Baker" userId="5619c06d-f213-4eaf-af79-ea49a5258dc4" providerId="ADAL" clId="{C039E2A2-5900-904E-85C5-31C3BC09C9F5}" dt="2023-09-01T10:28:36.535" v="476" actId="12789"/>
          <ac:spMkLst>
            <pc:docMk/>
            <pc:sldMk cId="2256222032" sldId="345"/>
            <ac:spMk id="39" creationId="{1F6AE85E-1E8F-0B30-E69E-386E2CF20F82}"/>
          </ac:spMkLst>
        </pc:spChg>
        <pc:spChg chg="add mod">
          <ac:chgData name="Kieran Baker" userId="5619c06d-f213-4eaf-af79-ea49a5258dc4" providerId="ADAL" clId="{C039E2A2-5900-904E-85C5-31C3BC09C9F5}" dt="2023-09-01T10:28:46.093" v="477" actId="12789"/>
          <ac:spMkLst>
            <pc:docMk/>
            <pc:sldMk cId="2256222032" sldId="345"/>
            <ac:spMk id="40" creationId="{EB75E2B2-C1F1-A562-F8A9-CD78AA34A2A9}"/>
          </ac:spMkLst>
        </pc:spChg>
        <pc:spChg chg="add del mod">
          <ac:chgData name="Kieran Baker" userId="5619c06d-f213-4eaf-af79-ea49a5258dc4" providerId="ADAL" clId="{C039E2A2-5900-904E-85C5-31C3BC09C9F5}" dt="2023-09-01T10:22:41.546" v="172" actId="478"/>
          <ac:spMkLst>
            <pc:docMk/>
            <pc:sldMk cId="2256222032" sldId="345"/>
            <ac:spMk id="41" creationId="{46D8FFEE-DD78-1D05-F89C-F0FEBEBEAF17}"/>
          </ac:spMkLst>
        </pc:spChg>
        <pc:spChg chg="add del mod">
          <ac:chgData name="Kieran Baker" userId="5619c06d-f213-4eaf-af79-ea49a5258dc4" providerId="ADAL" clId="{C039E2A2-5900-904E-85C5-31C3BC09C9F5}" dt="2023-09-01T10:24:26.208" v="240" actId="478"/>
          <ac:spMkLst>
            <pc:docMk/>
            <pc:sldMk cId="2256222032" sldId="345"/>
            <ac:spMk id="42" creationId="{E1BAFF58-8854-22F2-09E3-A83A880BC868}"/>
          </ac:spMkLst>
        </pc:spChg>
        <pc:spChg chg="add mod">
          <ac:chgData name="Kieran Baker" userId="5619c06d-f213-4eaf-af79-ea49a5258dc4" providerId="ADAL" clId="{C039E2A2-5900-904E-85C5-31C3BC09C9F5}" dt="2023-09-01T10:28:46.093" v="477" actId="12789"/>
          <ac:spMkLst>
            <pc:docMk/>
            <pc:sldMk cId="2256222032" sldId="345"/>
            <ac:spMk id="43" creationId="{AB175389-8776-38C8-4D2D-93984508253F}"/>
          </ac:spMkLst>
        </pc:spChg>
        <pc:spChg chg="add mod">
          <ac:chgData name="Kieran Baker" userId="5619c06d-f213-4eaf-af79-ea49a5258dc4" providerId="ADAL" clId="{C039E2A2-5900-904E-85C5-31C3BC09C9F5}" dt="2023-09-01T10:28:46.093" v="477" actId="12789"/>
          <ac:spMkLst>
            <pc:docMk/>
            <pc:sldMk cId="2256222032" sldId="345"/>
            <ac:spMk id="44" creationId="{4942805D-3D9D-606B-670F-E2ED696F8BA8}"/>
          </ac:spMkLst>
        </pc:spChg>
        <pc:spChg chg="add mod">
          <ac:chgData name="Kieran Baker" userId="5619c06d-f213-4eaf-af79-ea49a5258dc4" providerId="ADAL" clId="{C039E2A2-5900-904E-85C5-31C3BC09C9F5}" dt="2023-09-01T10:26:44.934" v="360" actId="20577"/>
          <ac:spMkLst>
            <pc:docMk/>
            <pc:sldMk cId="2256222032" sldId="345"/>
            <ac:spMk id="47" creationId="{EDB8D251-8B79-79AC-4913-3D4A20C0BAF8}"/>
          </ac:spMkLst>
        </pc:spChg>
        <pc:spChg chg="add mod">
          <ac:chgData name="Kieran Baker" userId="5619c06d-f213-4eaf-af79-ea49a5258dc4" providerId="ADAL" clId="{C039E2A2-5900-904E-85C5-31C3BC09C9F5}" dt="2023-09-01T10:28:51.870" v="478" actId="12789"/>
          <ac:spMkLst>
            <pc:docMk/>
            <pc:sldMk cId="2256222032" sldId="345"/>
            <ac:spMk id="48" creationId="{DCA442BA-11A5-97E7-1DD5-15EE7E567053}"/>
          </ac:spMkLst>
        </pc:spChg>
        <pc:spChg chg="add mod">
          <ac:chgData name="Kieran Baker" userId="5619c06d-f213-4eaf-af79-ea49a5258dc4" providerId="ADAL" clId="{C039E2A2-5900-904E-85C5-31C3BC09C9F5}" dt="2023-09-01T10:28:51.870" v="478" actId="12789"/>
          <ac:spMkLst>
            <pc:docMk/>
            <pc:sldMk cId="2256222032" sldId="345"/>
            <ac:spMk id="49" creationId="{AAF7C2F1-FF30-C1FE-6ACC-B4793B531BC7}"/>
          </ac:spMkLst>
        </pc:spChg>
        <pc:spChg chg="add del mod">
          <ac:chgData name="Kieran Baker" userId="5619c06d-f213-4eaf-af79-ea49a5258dc4" providerId="ADAL" clId="{C039E2A2-5900-904E-85C5-31C3BC09C9F5}" dt="2023-09-01T10:33:57.921" v="521"/>
          <ac:spMkLst>
            <pc:docMk/>
            <pc:sldMk cId="2256222032" sldId="345"/>
            <ac:spMk id="50" creationId="{3837D362-7902-B638-C2A1-C6EA52996556}"/>
          </ac:spMkLst>
        </pc:spChg>
        <pc:spChg chg="mod">
          <ac:chgData name="Kieran Baker" userId="5619c06d-f213-4eaf-af79-ea49a5258dc4" providerId="ADAL" clId="{C039E2A2-5900-904E-85C5-31C3BC09C9F5}" dt="2023-09-01T10:33:16.364" v="510"/>
          <ac:spMkLst>
            <pc:docMk/>
            <pc:sldMk cId="2256222032" sldId="345"/>
            <ac:spMk id="53" creationId="{3A2987FC-7CD6-DF2B-F913-5FC9DEFEFC2E}"/>
          </ac:spMkLst>
        </pc:spChg>
        <pc:spChg chg="mod">
          <ac:chgData name="Kieran Baker" userId="5619c06d-f213-4eaf-af79-ea49a5258dc4" providerId="ADAL" clId="{C039E2A2-5900-904E-85C5-31C3BC09C9F5}" dt="2023-09-01T10:33:21.408" v="512"/>
          <ac:spMkLst>
            <pc:docMk/>
            <pc:sldMk cId="2256222032" sldId="345"/>
            <ac:spMk id="54" creationId="{34979488-02EA-B0E4-C332-7D6E28F5794B}"/>
          </ac:spMkLst>
        </pc:spChg>
        <pc:spChg chg="mod">
          <ac:chgData name="Kieran Baker" userId="5619c06d-f213-4eaf-af79-ea49a5258dc4" providerId="ADAL" clId="{C039E2A2-5900-904E-85C5-31C3BC09C9F5}" dt="2023-09-01T10:33:39.305" v="516"/>
          <ac:spMkLst>
            <pc:docMk/>
            <pc:sldMk cId="2256222032" sldId="345"/>
            <ac:spMk id="56" creationId="{4AB53454-57D9-F714-5ACE-E4D6C5521C95}"/>
          </ac:spMkLst>
        </pc:spChg>
        <pc:spChg chg="mod">
          <ac:chgData name="Kieran Baker" userId="5619c06d-f213-4eaf-af79-ea49a5258dc4" providerId="ADAL" clId="{C039E2A2-5900-904E-85C5-31C3BC09C9F5}" dt="2023-09-01T10:33:42.943" v="518"/>
          <ac:spMkLst>
            <pc:docMk/>
            <pc:sldMk cId="2256222032" sldId="345"/>
            <ac:spMk id="57" creationId="{FF510F64-06CF-EEDA-7061-F906DF1F0699}"/>
          </ac:spMkLst>
        </pc:spChg>
        <pc:spChg chg="mod">
          <ac:chgData name="Kieran Baker" userId="5619c06d-f213-4eaf-af79-ea49a5258dc4" providerId="ADAL" clId="{C039E2A2-5900-904E-85C5-31C3BC09C9F5}" dt="2023-09-01T10:33:48.406" v="520"/>
          <ac:spMkLst>
            <pc:docMk/>
            <pc:sldMk cId="2256222032" sldId="345"/>
            <ac:spMk id="58" creationId="{1945CDF8-4E8E-E5A1-1CD0-BF029EFCA2C6}"/>
          </ac:spMkLst>
        </pc:spChg>
        <pc:spChg chg="add mod">
          <ac:chgData name="Kieran Baker" userId="5619c06d-f213-4eaf-af79-ea49a5258dc4" providerId="ADAL" clId="{C039E2A2-5900-904E-85C5-31C3BC09C9F5}" dt="2023-09-01T10:36:29.925" v="546" actId="207"/>
          <ac:spMkLst>
            <pc:docMk/>
            <pc:sldMk cId="2256222032" sldId="345"/>
            <ac:spMk id="60" creationId="{84B89F63-5832-08B9-D3A0-5964CAFFE672}"/>
          </ac:spMkLst>
        </pc:spChg>
        <pc:spChg chg="add mod">
          <ac:chgData name="Kieran Baker" userId="5619c06d-f213-4eaf-af79-ea49a5258dc4" providerId="ADAL" clId="{C039E2A2-5900-904E-85C5-31C3BC09C9F5}" dt="2023-09-01T10:37:12.805" v="548" actId="1076"/>
          <ac:spMkLst>
            <pc:docMk/>
            <pc:sldMk cId="2256222032" sldId="345"/>
            <ac:spMk id="61" creationId="{3F91C545-5428-6854-C5B5-E4D54108EE3F}"/>
          </ac:spMkLst>
        </pc:spChg>
        <pc:spChg chg="add mod">
          <ac:chgData name="Kieran Baker" userId="5619c06d-f213-4eaf-af79-ea49a5258dc4" providerId="ADAL" clId="{C039E2A2-5900-904E-85C5-31C3BC09C9F5}" dt="2023-09-01T10:37:22.340" v="549" actId="571"/>
          <ac:spMkLst>
            <pc:docMk/>
            <pc:sldMk cId="2256222032" sldId="345"/>
            <ac:spMk id="62" creationId="{CEAD8047-6550-E14C-13B1-1B469A3441FE}"/>
          </ac:spMkLst>
        </pc:spChg>
        <pc:grpChg chg="add mod">
          <ac:chgData name="Kieran Baker" userId="5619c06d-f213-4eaf-af79-ea49a5258dc4" providerId="ADAL" clId="{C039E2A2-5900-904E-85C5-31C3BC09C9F5}" dt="2023-09-01T10:43:22.218" v="741" actId="164"/>
          <ac:grpSpMkLst>
            <pc:docMk/>
            <pc:sldMk cId="2256222032" sldId="345"/>
            <ac:grpSpMk id="1051" creationId="{46A433C5-D74A-48CC-3E95-4D0E204B587F}"/>
          </ac:grpSpMkLst>
        </pc:grpChg>
        <pc:grpChg chg="add mod">
          <ac:chgData name="Kieran Baker" userId="5619c06d-f213-4eaf-af79-ea49a5258dc4" providerId="ADAL" clId="{C039E2A2-5900-904E-85C5-31C3BC09C9F5}" dt="2023-09-01T10:43:34.518" v="745" actId="1076"/>
          <ac:grpSpMkLst>
            <pc:docMk/>
            <pc:sldMk cId="2256222032" sldId="345"/>
            <ac:grpSpMk id="1052" creationId="{F37A9D8C-8D90-AD99-36B9-3A03FE066FDE}"/>
          </ac:grpSpMkLst>
        </pc:grpChg>
        <pc:picChg chg="mod">
          <ac:chgData name="Kieran Baker" userId="5619c06d-f213-4eaf-af79-ea49a5258dc4" providerId="ADAL" clId="{C039E2A2-5900-904E-85C5-31C3BC09C9F5}" dt="2023-09-01T10:31:17.840" v="494"/>
          <ac:picMkLst>
            <pc:docMk/>
            <pc:sldMk cId="2256222032" sldId="345"/>
            <ac:picMk id="51" creationId="{C964FBE4-A07B-A100-8907-31AFD4D3DC2C}"/>
          </ac:picMkLst>
        </pc:picChg>
        <pc:picChg chg="mod">
          <ac:chgData name="Kieran Baker" userId="5619c06d-f213-4eaf-af79-ea49a5258dc4" providerId="ADAL" clId="{C039E2A2-5900-904E-85C5-31C3BC09C9F5}" dt="2023-09-01T10:31:39.434" v="496"/>
          <ac:picMkLst>
            <pc:docMk/>
            <pc:sldMk cId="2256222032" sldId="345"/>
            <ac:picMk id="52" creationId="{80CEABD0-BC7E-3A91-5853-145F94869E11}"/>
          </ac:picMkLst>
        </pc:picChg>
        <pc:picChg chg="mod">
          <ac:chgData name="Kieran Baker" userId="5619c06d-f213-4eaf-af79-ea49a5258dc4" providerId="ADAL" clId="{C039E2A2-5900-904E-85C5-31C3BC09C9F5}" dt="2023-09-01T10:33:29.021" v="514"/>
          <ac:picMkLst>
            <pc:docMk/>
            <pc:sldMk cId="2256222032" sldId="345"/>
            <ac:picMk id="55" creationId="{473134CC-2197-D27D-7ECA-3DD0539BF9CF}"/>
          </ac:picMkLst>
        </pc:picChg>
        <pc:picChg chg="mod">
          <ac:chgData name="Kieran Baker" userId="5619c06d-f213-4eaf-af79-ea49a5258dc4" providerId="ADAL" clId="{C039E2A2-5900-904E-85C5-31C3BC09C9F5}" dt="2023-09-01T10:47:27.163" v="765" actId="1035"/>
          <ac:picMkLst>
            <pc:docMk/>
            <pc:sldMk cId="2256222032" sldId="345"/>
            <ac:picMk id="59" creationId="{F8FAC737-E344-F01E-85EB-CB3FA0A027ED}"/>
          </ac:picMkLst>
        </pc:picChg>
        <pc:picChg chg="add del">
          <ac:chgData name="Kieran Baker" userId="5619c06d-f213-4eaf-af79-ea49a5258dc4" providerId="ADAL" clId="{C039E2A2-5900-904E-85C5-31C3BC09C9F5}" dt="2023-09-01T10:30:04.410" v="483" actId="478"/>
          <ac:picMkLst>
            <pc:docMk/>
            <pc:sldMk cId="2256222032" sldId="345"/>
            <ac:picMk id="1026" creationId="{F4F844C3-AC8D-D14E-990D-E612048A5BAB}"/>
          </ac:picMkLst>
        </pc:picChg>
        <pc:picChg chg="add del mod">
          <ac:chgData name="Kieran Baker" userId="5619c06d-f213-4eaf-af79-ea49a5258dc4" providerId="ADAL" clId="{C039E2A2-5900-904E-85C5-31C3BC09C9F5}" dt="2023-09-01T10:33:57.921" v="521"/>
          <ac:picMkLst>
            <pc:docMk/>
            <pc:sldMk cId="2256222032" sldId="345"/>
            <ac:picMk id="1028" creationId="{2DC76C19-3C09-48FC-419D-4905902A213C}"/>
          </ac:picMkLst>
        </pc:picChg>
        <pc:picChg chg="add mod">
          <ac:chgData name="Kieran Baker" userId="5619c06d-f213-4eaf-af79-ea49a5258dc4" providerId="ADAL" clId="{C039E2A2-5900-904E-85C5-31C3BC09C9F5}" dt="2023-09-01T10:45:54.279" v="757" actId="1076"/>
          <ac:picMkLst>
            <pc:docMk/>
            <pc:sldMk cId="2256222032" sldId="345"/>
            <ac:picMk id="1060" creationId="{A53430EF-D80F-6759-0029-80CB0BF7FD4E}"/>
          </ac:picMkLst>
        </pc:picChg>
        <pc:picChg chg="add del">
          <ac:chgData name="Kieran Baker" userId="5619c06d-f213-4eaf-af79-ea49a5258dc4" providerId="ADAL" clId="{C039E2A2-5900-904E-85C5-31C3BC09C9F5}" dt="2023-09-01T11:23:24.436" v="1001" actId="478"/>
          <ac:picMkLst>
            <pc:docMk/>
            <pc:sldMk cId="2256222032" sldId="345"/>
            <ac:picMk id="1061" creationId="{4AF95EFA-1B4D-C0E8-E7CA-23AB358EF5B2}"/>
          </ac:picMkLst>
        </pc:picChg>
        <pc:cxnChg chg="add mod">
          <ac:chgData name="Kieran Baker" userId="5619c06d-f213-4eaf-af79-ea49a5258dc4" providerId="ADAL" clId="{C039E2A2-5900-904E-85C5-31C3BC09C9F5}" dt="2023-09-01T10:20:33.687" v="119" actId="1076"/>
          <ac:cxnSpMkLst>
            <pc:docMk/>
            <pc:sldMk cId="2256222032" sldId="345"/>
            <ac:cxnSpMk id="32" creationId="{1F2590C0-6D2D-A2E2-56AA-B8FD483C891A}"/>
          </ac:cxnSpMkLst>
        </pc:cxnChg>
        <pc:cxnChg chg="add mod">
          <ac:chgData name="Kieran Baker" userId="5619c06d-f213-4eaf-af79-ea49a5258dc4" providerId="ADAL" clId="{C039E2A2-5900-904E-85C5-31C3BC09C9F5}" dt="2023-09-01T10:20:44.017" v="123" actId="1076"/>
          <ac:cxnSpMkLst>
            <pc:docMk/>
            <pc:sldMk cId="2256222032" sldId="345"/>
            <ac:cxnSpMk id="33" creationId="{256389DA-3EF5-A386-4972-E78E8B8126F7}"/>
          </ac:cxnSpMkLst>
        </pc:cxnChg>
        <pc:cxnChg chg="add mod">
          <ac:chgData name="Kieran Baker" userId="5619c06d-f213-4eaf-af79-ea49a5258dc4" providerId="ADAL" clId="{C039E2A2-5900-904E-85C5-31C3BC09C9F5}" dt="2023-09-01T10:20:56.125" v="125" actId="1076"/>
          <ac:cxnSpMkLst>
            <pc:docMk/>
            <pc:sldMk cId="2256222032" sldId="345"/>
            <ac:cxnSpMk id="34" creationId="{84B25963-6190-0240-AA83-1C37FBAE16E3}"/>
          </ac:cxnSpMkLst>
        </pc:cxnChg>
        <pc:cxnChg chg="add mod">
          <ac:chgData name="Kieran Baker" userId="5619c06d-f213-4eaf-af79-ea49a5258dc4" providerId="ADAL" clId="{C039E2A2-5900-904E-85C5-31C3BC09C9F5}" dt="2023-09-01T10:26:25.643" v="343" actId="14100"/>
          <ac:cxnSpMkLst>
            <pc:docMk/>
            <pc:sldMk cId="2256222032" sldId="345"/>
            <ac:cxnSpMk id="45" creationId="{D2F6B20A-C03A-7160-7E4C-5D976EC2B6D4}"/>
          </ac:cxnSpMkLst>
        </pc:cxnChg>
        <pc:cxnChg chg="add del mod">
          <ac:chgData name="Kieran Baker" userId="5619c06d-f213-4eaf-af79-ea49a5258dc4" providerId="ADAL" clId="{C039E2A2-5900-904E-85C5-31C3BC09C9F5}" dt="2023-09-01T10:41:20.138" v="639" actId="478"/>
          <ac:cxnSpMkLst>
            <pc:docMk/>
            <pc:sldMk cId="2256222032" sldId="345"/>
            <ac:cxnSpMk id="1024" creationId="{BD06BE64-6DA0-F53D-D67D-4FE65ECD8A74}"/>
          </ac:cxnSpMkLst>
        </pc:cxnChg>
        <pc:cxnChg chg="add del mod">
          <ac:chgData name="Kieran Baker" userId="5619c06d-f213-4eaf-af79-ea49a5258dc4" providerId="ADAL" clId="{C039E2A2-5900-904E-85C5-31C3BC09C9F5}" dt="2023-09-01T10:41:19.157" v="638" actId="478"/>
          <ac:cxnSpMkLst>
            <pc:docMk/>
            <pc:sldMk cId="2256222032" sldId="345"/>
            <ac:cxnSpMk id="1027" creationId="{42AF307F-2E21-3187-E0F7-0F1E9F65D102}"/>
          </ac:cxnSpMkLst>
        </pc:cxnChg>
        <pc:cxnChg chg="add mod">
          <ac:chgData name="Kieran Baker" userId="5619c06d-f213-4eaf-af79-ea49a5258dc4" providerId="ADAL" clId="{C039E2A2-5900-904E-85C5-31C3BC09C9F5}" dt="2023-09-01T10:43:22.218" v="741" actId="164"/>
          <ac:cxnSpMkLst>
            <pc:docMk/>
            <pc:sldMk cId="2256222032" sldId="345"/>
            <ac:cxnSpMk id="1029" creationId="{C21C2EB8-F273-E38D-F322-183E100E4FCB}"/>
          </ac:cxnSpMkLst>
        </pc:cxnChg>
        <pc:cxnChg chg="add del mod">
          <ac:chgData name="Kieran Baker" userId="5619c06d-f213-4eaf-af79-ea49a5258dc4" providerId="ADAL" clId="{C039E2A2-5900-904E-85C5-31C3BC09C9F5}" dt="2023-09-01T10:41:17.628" v="637" actId="478"/>
          <ac:cxnSpMkLst>
            <pc:docMk/>
            <pc:sldMk cId="2256222032" sldId="345"/>
            <ac:cxnSpMk id="1030" creationId="{DB090E1A-988A-1BC4-6987-7BD89049D323}"/>
          </ac:cxnSpMkLst>
        </pc:cxnChg>
        <pc:cxnChg chg="add del mod">
          <ac:chgData name="Kieran Baker" userId="5619c06d-f213-4eaf-af79-ea49a5258dc4" providerId="ADAL" clId="{C039E2A2-5900-904E-85C5-31C3BC09C9F5}" dt="2023-09-01T10:41:21.090" v="640" actId="478"/>
          <ac:cxnSpMkLst>
            <pc:docMk/>
            <pc:sldMk cId="2256222032" sldId="345"/>
            <ac:cxnSpMk id="1031" creationId="{98EC28EB-AF5E-C0F5-2202-5080BFCE5A78}"/>
          </ac:cxnSpMkLst>
        </pc:cxnChg>
        <pc:cxnChg chg="add mod">
          <ac:chgData name="Kieran Baker" userId="5619c06d-f213-4eaf-af79-ea49a5258dc4" providerId="ADAL" clId="{C039E2A2-5900-904E-85C5-31C3BC09C9F5}" dt="2023-09-01T10:43:22.218" v="741" actId="164"/>
          <ac:cxnSpMkLst>
            <pc:docMk/>
            <pc:sldMk cId="2256222032" sldId="345"/>
            <ac:cxnSpMk id="1042" creationId="{965CF2C9-642D-52A4-BBCE-02849038249A}"/>
          </ac:cxnSpMkLst>
        </pc:cxnChg>
        <pc:cxnChg chg="add del mod">
          <ac:chgData name="Kieran Baker" userId="5619c06d-f213-4eaf-af79-ea49a5258dc4" providerId="ADAL" clId="{C039E2A2-5900-904E-85C5-31C3BC09C9F5}" dt="2023-09-01T10:42:10.961" v="649" actId="478"/>
          <ac:cxnSpMkLst>
            <pc:docMk/>
            <pc:sldMk cId="2256222032" sldId="345"/>
            <ac:cxnSpMk id="1043" creationId="{B745AC4B-AFFC-9D73-930E-8CCC42D23548}"/>
          </ac:cxnSpMkLst>
        </pc:cxnChg>
        <pc:cxnChg chg="add del mod">
          <ac:chgData name="Kieran Baker" userId="5619c06d-f213-4eaf-af79-ea49a5258dc4" providerId="ADAL" clId="{C039E2A2-5900-904E-85C5-31C3BC09C9F5}" dt="2023-09-01T10:42:10.961" v="649" actId="478"/>
          <ac:cxnSpMkLst>
            <pc:docMk/>
            <pc:sldMk cId="2256222032" sldId="345"/>
            <ac:cxnSpMk id="1044" creationId="{3336E2EB-E85B-7247-40FE-25188BB31C8C}"/>
          </ac:cxnSpMkLst>
        </pc:cxnChg>
        <pc:cxnChg chg="add del mod">
          <ac:chgData name="Kieran Baker" userId="5619c06d-f213-4eaf-af79-ea49a5258dc4" providerId="ADAL" clId="{C039E2A2-5900-904E-85C5-31C3BC09C9F5}" dt="2023-09-01T10:42:18.621" v="652" actId="478"/>
          <ac:cxnSpMkLst>
            <pc:docMk/>
            <pc:sldMk cId="2256222032" sldId="345"/>
            <ac:cxnSpMk id="1046" creationId="{F9D906DC-CE22-9742-5C53-FE95DF0F92C8}"/>
          </ac:cxnSpMkLst>
        </pc:cxnChg>
        <pc:cxnChg chg="add mod">
          <ac:chgData name="Kieran Baker" userId="5619c06d-f213-4eaf-af79-ea49a5258dc4" providerId="ADAL" clId="{C039E2A2-5900-904E-85C5-31C3BC09C9F5}" dt="2023-09-01T10:43:22.218" v="741" actId="164"/>
          <ac:cxnSpMkLst>
            <pc:docMk/>
            <pc:sldMk cId="2256222032" sldId="345"/>
            <ac:cxnSpMk id="1047" creationId="{C746465F-6D90-AA51-C67F-F540B4A3741B}"/>
          </ac:cxnSpMkLst>
        </pc:cxnChg>
        <pc:cxnChg chg="mod">
          <ac:chgData name="Kieran Baker" userId="5619c06d-f213-4eaf-af79-ea49a5258dc4" providerId="ADAL" clId="{C039E2A2-5900-904E-85C5-31C3BC09C9F5}" dt="2023-09-01T10:43:25.224" v="742"/>
          <ac:cxnSpMkLst>
            <pc:docMk/>
            <pc:sldMk cId="2256222032" sldId="345"/>
            <ac:cxnSpMk id="1053" creationId="{D2AD830F-7446-900E-5AB8-F946C40A443C}"/>
          </ac:cxnSpMkLst>
        </pc:cxnChg>
        <pc:cxnChg chg="mod">
          <ac:chgData name="Kieran Baker" userId="5619c06d-f213-4eaf-af79-ea49a5258dc4" providerId="ADAL" clId="{C039E2A2-5900-904E-85C5-31C3BC09C9F5}" dt="2023-09-01T10:43:25.224" v="742"/>
          <ac:cxnSpMkLst>
            <pc:docMk/>
            <pc:sldMk cId="2256222032" sldId="345"/>
            <ac:cxnSpMk id="1054" creationId="{28608F5F-1DC9-7622-55F0-3694DB2E67D1}"/>
          </ac:cxnSpMkLst>
        </pc:cxnChg>
        <pc:cxnChg chg="mod">
          <ac:chgData name="Kieran Baker" userId="5619c06d-f213-4eaf-af79-ea49a5258dc4" providerId="ADAL" clId="{C039E2A2-5900-904E-85C5-31C3BC09C9F5}" dt="2023-09-01T10:43:25.224" v="742"/>
          <ac:cxnSpMkLst>
            <pc:docMk/>
            <pc:sldMk cId="2256222032" sldId="345"/>
            <ac:cxnSpMk id="1055" creationId="{781212D1-9B8B-B9FE-FBD3-BE274B34B1F7}"/>
          </ac:cxnSpMkLst>
        </pc:cxnChg>
        <pc:cxnChg chg="add mod">
          <ac:chgData name="Kieran Baker" userId="5619c06d-f213-4eaf-af79-ea49a5258dc4" providerId="ADAL" clId="{C039E2A2-5900-904E-85C5-31C3BC09C9F5}" dt="2023-09-01T10:44:13.372" v="750" actId="14100"/>
          <ac:cxnSpMkLst>
            <pc:docMk/>
            <pc:sldMk cId="2256222032" sldId="345"/>
            <ac:cxnSpMk id="1056" creationId="{9C04BE1A-2307-39F0-4805-BF2CE07F5C17}"/>
          </ac:cxnSpMkLst>
        </pc:cxnChg>
      </pc:sldChg>
      <pc:sldChg chg="addSp delSp modSp add mod">
        <pc:chgData name="Kieran Baker" userId="5619c06d-f213-4eaf-af79-ea49a5258dc4" providerId="ADAL" clId="{C039E2A2-5900-904E-85C5-31C3BC09C9F5}" dt="2023-09-03T08:28:14.896" v="2252" actId="1582"/>
        <pc:sldMkLst>
          <pc:docMk/>
          <pc:sldMk cId="2138093270" sldId="346"/>
        </pc:sldMkLst>
        <pc:spChg chg="mod">
          <ac:chgData name="Kieran Baker" userId="5619c06d-f213-4eaf-af79-ea49a5258dc4" providerId="ADAL" clId="{C039E2A2-5900-904E-85C5-31C3BC09C9F5}" dt="2023-09-01T12:05:00.994" v="1155" actId="1076"/>
          <ac:spMkLst>
            <pc:docMk/>
            <pc:sldMk cId="2138093270" sldId="346"/>
            <ac:spMk id="2" creationId="{86B1B815-F09B-4830-97DA-584EA1FBFA1F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3" creationId="{83512AFD-E5CE-4D4E-B9A7-8D4DC108095D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4" creationId="{C100A690-7C9C-454B-BE52-93A3DE32B2B0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5" creationId="{B642710F-5152-4325-9C13-587EDA83AC3A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6" creationId="{B6B12836-90DC-4180-A76F-4E574EC6B3B5}"/>
          </ac:spMkLst>
        </pc:spChg>
        <pc:spChg chg="add mod">
          <ac:chgData name="Kieran Baker" userId="5619c06d-f213-4eaf-af79-ea49a5258dc4" providerId="ADAL" clId="{C039E2A2-5900-904E-85C5-31C3BC09C9F5}" dt="2023-09-02T09:41:31.849" v="1523"/>
          <ac:spMkLst>
            <pc:docMk/>
            <pc:sldMk cId="2138093270" sldId="346"/>
            <ac:spMk id="7" creationId="{245924C5-CA64-54F8-3B5A-F2A3576C89F8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7" creationId="{3F86D540-F51B-4478-8298-0C475D45DC82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8" creationId="{49C6E123-59A7-458F-8744-E0CD0D088DD9}"/>
          </ac:spMkLst>
        </pc:spChg>
        <pc:spChg chg="add mod">
          <ac:chgData name="Kieran Baker" userId="5619c06d-f213-4eaf-af79-ea49a5258dc4" providerId="ADAL" clId="{C039E2A2-5900-904E-85C5-31C3BC09C9F5}" dt="2023-09-02T09:41:56.599" v="1532"/>
          <ac:spMkLst>
            <pc:docMk/>
            <pc:sldMk cId="2138093270" sldId="346"/>
            <ac:spMk id="8" creationId="{85C18855-5D83-6BEE-00ED-81036174827A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9" creationId="{94A53324-7C91-42DF-81E6-DA3EE06AFCA4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0" creationId="{66552B5E-A04A-4ADC-8B5B-CAB2A0525BC9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1" creationId="{268B8AAD-7AC5-4C2C-9A3C-BD91C30760FF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2" creationId="{E2BAA271-0D52-4222-B518-AE9B6E2C5D21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3" creationId="{265E248E-2C4A-46FB-81AE-3D375CADF541}"/>
          </ac:spMkLst>
        </pc:spChg>
        <pc:spChg chg="add del mod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15" creationId="{3A9C1FA8-2597-C866-201E-903372425D4E}"/>
          </ac:spMkLst>
        </pc:spChg>
        <pc:spChg chg="add del mod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17" creationId="{BFFACC8B-1220-029B-2F7A-599A4246F513}"/>
          </ac:spMkLst>
        </pc:spChg>
        <pc:spChg chg="add del mod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19" creationId="{6F9DF930-0740-975D-2E72-08DAA89D20F5}"/>
          </ac:spMkLst>
        </pc:spChg>
        <pc:spChg chg="add del mod">
          <ac:chgData name="Kieran Baker" userId="5619c06d-f213-4eaf-af79-ea49a5258dc4" providerId="ADAL" clId="{C039E2A2-5900-904E-85C5-31C3BC09C9F5}" dt="2023-09-01T11:03:55.691" v="769" actId="478"/>
          <ac:spMkLst>
            <pc:docMk/>
            <pc:sldMk cId="2138093270" sldId="346"/>
            <ac:spMk id="21" creationId="{1CA630AC-514A-9470-8D61-7EBAADF166E2}"/>
          </ac:spMkLst>
        </pc:spChg>
        <pc:spChg chg="add del mod">
          <ac:chgData name="Kieran Baker" userId="5619c06d-f213-4eaf-af79-ea49a5258dc4" providerId="ADAL" clId="{C039E2A2-5900-904E-85C5-31C3BC09C9F5}" dt="2023-09-01T11:03:55.691" v="769" actId="478"/>
          <ac:spMkLst>
            <pc:docMk/>
            <pc:sldMk cId="2138093270" sldId="346"/>
            <ac:spMk id="23" creationId="{B1C484F3-CE3D-B1B2-3629-B93EB8AF40D8}"/>
          </ac:spMkLst>
        </pc:spChg>
        <pc:spChg chg="add del mod">
          <ac:chgData name="Kieran Baker" userId="5619c06d-f213-4eaf-af79-ea49a5258dc4" providerId="ADAL" clId="{C039E2A2-5900-904E-85C5-31C3BC09C9F5}" dt="2023-09-01T11:03:55.691" v="769" actId="478"/>
          <ac:spMkLst>
            <pc:docMk/>
            <pc:sldMk cId="2138093270" sldId="346"/>
            <ac:spMk id="25" creationId="{9D57D51F-04B0-F4F8-94AD-42040822FFC2}"/>
          </ac:spMkLst>
        </pc:spChg>
        <pc:spChg chg="add del mod topLvl">
          <ac:chgData name="Kieran Baker" userId="5619c06d-f213-4eaf-af79-ea49a5258dc4" providerId="ADAL" clId="{C039E2A2-5900-904E-85C5-31C3BC09C9F5}" dt="2023-09-02T09:17:29.306" v="1167" actId="478"/>
          <ac:spMkLst>
            <pc:docMk/>
            <pc:sldMk cId="2138093270" sldId="346"/>
            <ac:spMk id="26" creationId="{116C427D-5885-E3FB-7919-E6045E8FA96C}"/>
          </ac:spMkLst>
        </pc:spChg>
        <pc:spChg chg="add del mod topLvl">
          <ac:chgData name="Kieran Baker" userId="5619c06d-f213-4eaf-af79-ea49a5258dc4" providerId="ADAL" clId="{C039E2A2-5900-904E-85C5-31C3BC09C9F5}" dt="2023-09-02T09:17:54.297" v="1174" actId="478"/>
          <ac:spMkLst>
            <pc:docMk/>
            <pc:sldMk cId="2138093270" sldId="346"/>
            <ac:spMk id="27" creationId="{2F58E438-0D68-AB2B-1E66-2EF6F310EA7B}"/>
          </ac:spMkLst>
        </pc:spChg>
        <pc:spChg chg="add del mod topLvl">
          <ac:chgData name="Kieran Baker" userId="5619c06d-f213-4eaf-af79-ea49a5258dc4" providerId="ADAL" clId="{C039E2A2-5900-904E-85C5-31C3BC09C9F5}" dt="2023-09-02T09:18:08.801" v="1178" actId="478"/>
          <ac:spMkLst>
            <pc:docMk/>
            <pc:sldMk cId="2138093270" sldId="346"/>
            <ac:spMk id="28" creationId="{A72474FE-93B2-AECE-E531-103BA0008D8C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9" creationId="{A43D38C8-8634-DC5B-093B-8D7D07606DE5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30" creationId="{425A328C-EC29-ED96-3D4B-E4C13944C038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31" creationId="{029CC126-8EB1-1797-8DC2-007EFEBDF803}"/>
          </ac:spMkLst>
        </pc:spChg>
        <pc:spChg chg="add mod">
          <ac:chgData name="Kieran Baker" userId="5619c06d-f213-4eaf-af79-ea49a5258dc4" providerId="ADAL" clId="{C039E2A2-5900-904E-85C5-31C3BC09C9F5}" dt="2023-09-03T08:27:21.045" v="2245" actId="207"/>
          <ac:spMkLst>
            <pc:docMk/>
            <pc:sldMk cId="2138093270" sldId="346"/>
            <ac:spMk id="32" creationId="{C0468CA2-19BE-80CB-1A85-775E93B43624}"/>
          </ac:spMkLst>
        </pc:spChg>
        <pc:spChg chg="add mod">
          <ac:chgData name="Kieran Baker" userId="5619c06d-f213-4eaf-af79-ea49a5258dc4" providerId="ADAL" clId="{C039E2A2-5900-904E-85C5-31C3BC09C9F5}" dt="2023-09-03T08:26:30.483" v="2236" actId="207"/>
          <ac:spMkLst>
            <pc:docMk/>
            <pc:sldMk cId="2138093270" sldId="346"/>
            <ac:spMk id="33" creationId="{F4AAFA3D-62C3-F782-E11B-B4329A37D99C}"/>
          </ac:spMkLst>
        </pc:spChg>
        <pc:spChg chg="add mod">
          <ac:chgData name="Kieran Baker" userId="5619c06d-f213-4eaf-af79-ea49a5258dc4" providerId="ADAL" clId="{C039E2A2-5900-904E-85C5-31C3BC09C9F5}" dt="2023-09-03T08:26:30.483" v="2236" actId="207"/>
          <ac:spMkLst>
            <pc:docMk/>
            <pc:sldMk cId="2138093270" sldId="346"/>
            <ac:spMk id="34" creationId="{4B4081B1-C6EA-96AD-D425-1B99423E169F}"/>
          </ac:spMkLst>
        </pc:spChg>
        <pc:spChg chg="add mod">
          <ac:chgData name="Kieran Baker" userId="5619c06d-f213-4eaf-af79-ea49a5258dc4" providerId="ADAL" clId="{C039E2A2-5900-904E-85C5-31C3BC09C9F5}" dt="2023-09-03T08:26:30.483" v="2236" actId="207"/>
          <ac:spMkLst>
            <pc:docMk/>
            <pc:sldMk cId="2138093270" sldId="346"/>
            <ac:spMk id="35" creationId="{7C725654-A593-224D-26ED-1F83C54F1D24}"/>
          </ac:spMkLst>
        </pc:spChg>
        <pc:spChg chg="add del mod">
          <ac:chgData name="Kieran Baker" userId="5619c06d-f213-4eaf-af79-ea49a5258dc4" providerId="ADAL" clId="{C039E2A2-5900-904E-85C5-31C3BC09C9F5}" dt="2023-09-01T11:13:30.603" v="910" actId="478"/>
          <ac:spMkLst>
            <pc:docMk/>
            <pc:sldMk cId="2138093270" sldId="346"/>
            <ac:spMk id="36" creationId="{09AA062F-60ED-1D1C-834B-647478E98AA9}"/>
          </ac:spMkLst>
        </pc:spChg>
        <pc:spChg chg="add mod">
          <ac:chgData name="Kieran Baker" userId="5619c06d-f213-4eaf-af79-ea49a5258dc4" providerId="ADAL" clId="{C039E2A2-5900-904E-85C5-31C3BC09C9F5}" dt="2023-09-03T08:26:36.818" v="2237" actId="207"/>
          <ac:spMkLst>
            <pc:docMk/>
            <pc:sldMk cId="2138093270" sldId="346"/>
            <ac:spMk id="37" creationId="{F08F22F8-7349-7B82-A988-3FF6E36272F1}"/>
          </ac:spMkLst>
        </pc:spChg>
        <pc:spChg chg="add del mod">
          <ac:chgData name="Kieran Baker" userId="5619c06d-f213-4eaf-af79-ea49a5258dc4" providerId="ADAL" clId="{C039E2A2-5900-904E-85C5-31C3BC09C9F5}" dt="2023-09-01T11:28:09.563" v="1029" actId="478"/>
          <ac:spMkLst>
            <pc:docMk/>
            <pc:sldMk cId="2138093270" sldId="346"/>
            <ac:spMk id="38" creationId="{88DFDF74-5815-AB89-E9B6-BB1631DF54B7}"/>
          </ac:spMkLst>
        </pc:spChg>
        <pc:spChg chg="add del mod">
          <ac:chgData name="Kieran Baker" userId="5619c06d-f213-4eaf-af79-ea49a5258dc4" providerId="ADAL" clId="{C039E2A2-5900-904E-85C5-31C3BC09C9F5}" dt="2023-09-01T11:11:30.340" v="891" actId="478"/>
          <ac:spMkLst>
            <pc:docMk/>
            <pc:sldMk cId="2138093270" sldId="346"/>
            <ac:spMk id="39" creationId="{7F52AED4-4810-E81E-971E-1E99462DCA47}"/>
          </ac:spMkLst>
        </pc:spChg>
        <pc:spChg chg="add del mod">
          <ac:chgData name="Kieran Baker" userId="5619c06d-f213-4eaf-af79-ea49a5258dc4" providerId="ADAL" clId="{C039E2A2-5900-904E-85C5-31C3BC09C9F5}" dt="2023-09-01T11:11:30.340" v="891" actId="478"/>
          <ac:spMkLst>
            <pc:docMk/>
            <pc:sldMk cId="2138093270" sldId="346"/>
            <ac:spMk id="40" creationId="{DF659D3E-841C-D80F-54C2-E60BC9C3EFFD}"/>
          </ac:spMkLst>
        </pc:spChg>
        <pc:spChg chg="add del mod">
          <ac:chgData name="Kieran Baker" userId="5619c06d-f213-4eaf-af79-ea49a5258dc4" providerId="ADAL" clId="{C039E2A2-5900-904E-85C5-31C3BC09C9F5}" dt="2023-09-01T11:11:30.340" v="891" actId="478"/>
          <ac:spMkLst>
            <pc:docMk/>
            <pc:sldMk cId="2138093270" sldId="346"/>
            <ac:spMk id="41" creationId="{FC3025FA-D2D6-B30F-CF0A-040488987CF9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2" creationId="{DFE0D3F2-9D41-9A05-F495-CB198E880A76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3" creationId="{69D72B27-35A8-786B-17FD-0CFB4581A093}"/>
          </ac:spMkLst>
        </pc:spChg>
        <pc:spChg chg="add del mod">
          <ac:chgData name="Kieran Baker" userId="5619c06d-f213-4eaf-af79-ea49a5258dc4" providerId="ADAL" clId="{C039E2A2-5900-904E-85C5-31C3BC09C9F5}" dt="2023-09-01T11:11:05.106" v="886"/>
          <ac:spMkLst>
            <pc:docMk/>
            <pc:sldMk cId="2138093270" sldId="346"/>
            <ac:spMk id="44" creationId="{225113C6-5F5E-D3AE-47CC-6EFB465E1931}"/>
          </ac:spMkLst>
        </pc:spChg>
        <pc:spChg chg="add del mod">
          <ac:chgData name="Kieran Baker" userId="5619c06d-f213-4eaf-af79-ea49a5258dc4" providerId="ADAL" clId="{C039E2A2-5900-904E-85C5-31C3BC09C9F5}" dt="2023-09-01T11:11:05.106" v="886"/>
          <ac:spMkLst>
            <pc:docMk/>
            <pc:sldMk cId="2138093270" sldId="346"/>
            <ac:spMk id="45" creationId="{4DEF597C-0B32-0B7E-861E-3F2177D70CDB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6" creationId="{C4B08012-A39C-FC7F-F5DD-80E0EA8688DE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7" creationId="{1FE9C064-69EA-BBB3-F58E-45896870AA74}"/>
          </ac:spMkLst>
        </pc:spChg>
        <pc:spChg chg="add del mod">
          <ac:chgData name="Kieran Baker" userId="5619c06d-f213-4eaf-af79-ea49a5258dc4" providerId="ADAL" clId="{C039E2A2-5900-904E-85C5-31C3BC09C9F5}" dt="2023-09-01T11:14:12.308" v="919" actId="478"/>
          <ac:spMkLst>
            <pc:docMk/>
            <pc:sldMk cId="2138093270" sldId="346"/>
            <ac:spMk id="48" creationId="{03C35336-2A20-B948-1CA8-4BBA65DACCC7}"/>
          </ac:spMkLst>
        </pc:spChg>
        <pc:spChg chg="add del mod">
          <ac:chgData name="Kieran Baker" userId="5619c06d-f213-4eaf-af79-ea49a5258dc4" providerId="ADAL" clId="{C039E2A2-5900-904E-85C5-31C3BC09C9F5}" dt="2023-09-01T11:14:12.308" v="919" actId="478"/>
          <ac:spMkLst>
            <pc:docMk/>
            <pc:sldMk cId="2138093270" sldId="346"/>
            <ac:spMk id="49" creationId="{6F49E826-9694-9BDA-214D-010A17271AAA}"/>
          </ac:spMkLst>
        </pc:spChg>
        <pc:spChg chg="add del mod">
          <ac:chgData name="Kieran Baker" userId="5619c06d-f213-4eaf-af79-ea49a5258dc4" providerId="ADAL" clId="{C039E2A2-5900-904E-85C5-31C3BC09C9F5}" dt="2023-09-01T12:04:47.688" v="1153" actId="478"/>
          <ac:spMkLst>
            <pc:docMk/>
            <pc:sldMk cId="2138093270" sldId="346"/>
            <ac:spMk id="50" creationId="{C5D8402E-DF42-47F7-4051-48E640FE0B80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1" creationId="{148AF71C-4925-BB0F-7B84-2737DDC308E3}"/>
          </ac:spMkLst>
        </pc:spChg>
        <pc:spChg chg="add del mod">
          <ac:chgData name="Kieran Baker" userId="5619c06d-f213-4eaf-af79-ea49a5258dc4" providerId="ADAL" clId="{C039E2A2-5900-904E-85C5-31C3BC09C9F5}" dt="2023-09-01T11:14:19.879" v="923"/>
          <ac:spMkLst>
            <pc:docMk/>
            <pc:sldMk cId="2138093270" sldId="346"/>
            <ac:spMk id="52" creationId="{7FDD821F-9469-7FEC-92AA-C8417B921216}"/>
          </ac:spMkLst>
        </pc:spChg>
        <pc:spChg chg="add mod">
          <ac:chgData name="Kieran Baker" userId="5619c06d-f213-4eaf-af79-ea49a5258dc4" providerId="ADAL" clId="{C039E2A2-5900-904E-85C5-31C3BC09C9F5}" dt="2023-09-01T11:14:28.010" v="925" actId="571"/>
          <ac:spMkLst>
            <pc:docMk/>
            <pc:sldMk cId="2138093270" sldId="346"/>
            <ac:spMk id="53" creationId="{A2E2D59A-A1EB-F644-FAA4-0B46B7CB52E2}"/>
          </ac:spMkLst>
        </pc:spChg>
        <pc:spChg chg="add mod">
          <ac:chgData name="Kieran Baker" userId="5619c06d-f213-4eaf-af79-ea49a5258dc4" providerId="ADAL" clId="{C039E2A2-5900-904E-85C5-31C3BC09C9F5}" dt="2023-09-01T11:14:28.010" v="925" actId="571"/>
          <ac:spMkLst>
            <pc:docMk/>
            <pc:sldMk cId="2138093270" sldId="346"/>
            <ac:spMk id="54" creationId="{E555AE1F-BAD3-1630-0D47-F595AB2FC5D7}"/>
          </ac:spMkLst>
        </pc:spChg>
        <pc:spChg chg="add mod">
          <ac:chgData name="Kieran Baker" userId="5619c06d-f213-4eaf-af79-ea49a5258dc4" providerId="ADAL" clId="{C039E2A2-5900-904E-85C5-31C3BC09C9F5}" dt="2023-09-01T11:14:28.010" v="925" actId="571"/>
          <ac:spMkLst>
            <pc:docMk/>
            <pc:sldMk cId="2138093270" sldId="346"/>
            <ac:spMk id="55" creationId="{2821454C-FCC6-A0C8-4851-C12D253BEA9C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6" creationId="{75284270-D6DF-C676-1DC4-67DB64AF0E32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7" creationId="{43734A99-C410-5B52-37FD-D2196EB0D780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8" creationId="{AA675744-DCD2-EB00-0D47-70247A0BF8B8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9" creationId="{98D47C9F-9EF5-3CF0-D692-3BFD924B1B89}"/>
          </ac:spMkLst>
        </pc:spChg>
        <pc:spChg chg="add del">
          <ac:chgData name="Kieran Baker" userId="5619c06d-f213-4eaf-af79-ea49a5258dc4" providerId="ADAL" clId="{C039E2A2-5900-904E-85C5-31C3BC09C9F5}" dt="2023-09-01T11:17:44.277" v="944"/>
          <ac:spMkLst>
            <pc:docMk/>
            <pc:sldMk cId="2138093270" sldId="346"/>
            <ac:spMk id="60" creationId="{6290DF8D-63E8-9527-3AC0-677CBC3FA795}"/>
          </ac:spMkLst>
        </pc:spChg>
        <pc:spChg chg="add del">
          <ac:chgData name="Kieran Baker" userId="5619c06d-f213-4eaf-af79-ea49a5258dc4" providerId="ADAL" clId="{C039E2A2-5900-904E-85C5-31C3BC09C9F5}" dt="2023-09-01T11:27:29.685" v="1021"/>
          <ac:spMkLst>
            <pc:docMk/>
            <pc:sldMk cId="2138093270" sldId="346"/>
            <ac:spMk id="63" creationId="{08F16769-30AD-ECE2-0F12-45607139C0E6}"/>
          </ac:spMkLst>
        </pc:spChg>
        <pc:spChg chg="add mod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051" creationId="{61004DBD-A6EC-393D-5EC9-5667CC430849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052" creationId="{A477F890-7B2E-CD4F-44FB-1717DE42F5FD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053" creationId="{CD3297F2-CE9B-4D6C-19CA-2136EA13C3B1}"/>
          </ac:spMkLst>
        </pc:spChg>
        <pc:grpChg chg="add mod">
          <ac:chgData name="Kieran Baker" userId="5619c06d-f213-4eaf-af79-ea49a5258dc4" providerId="ADAL" clId="{C039E2A2-5900-904E-85C5-31C3BC09C9F5}" dt="2023-09-01T11:28:40.318" v="1036" actId="1038"/>
          <ac:grpSpMkLst>
            <pc:docMk/>
            <pc:sldMk cId="2138093270" sldId="346"/>
            <ac:grpSpMk id="2049" creationId="{530CB3BE-9939-D212-3392-5AAE4C74845B}"/>
          </ac:grpSpMkLst>
        </pc:grpChg>
        <pc:grpChg chg="add del mod">
          <ac:chgData name="Kieran Baker" userId="5619c06d-f213-4eaf-af79-ea49a5258dc4" providerId="ADAL" clId="{C039E2A2-5900-904E-85C5-31C3BC09C9F5}" dt="2023-09-01T12:06:21.668" v="1158" actId="165"/>
          <ac:grpSpMkLst>
            <pc:docMk/>
            <pc:sldMk cId="2138093270" sldId="346"/>
            <ac:grpSpMk id="2055" creationId="{0CED8EF4-A21E-1E72-5910-23809BE6DD53}"/>
          </ac:grpSpMkLst>
        </pc:grpChg>
        <pc:grpChg chg="add del mod">
          <ac:chgData name="Kieran Baker" userId="5619c06d-f213-4eaf-af79-ea49a5258dc4" providerId="ADAL" clId="{C039E2A2-5900-904E-85C5-31C3BC09C9F5}" dt="2023-09-01T12:06:55.037" v="1162" actId="165"/>
          <ac:grpSpMkLst>
            <pc:docMk/>
            <pc:sldMk cId="2138093270" sldId="346"/>
            <ac:grpSpMk id="2057" creationId="{0C390C19-8BDE-636D-0862-5E146C575708}"/>
          </ac:grpSpMkLst>
        </pc:grpChg>
        <pc:grpChg chg="add del mod">
          <ac:chgData name="Kieran Baker" userId="5619c06d-f213-4eaf-af79-ea49a5258dc4" providerId="ADAL" clId="{C039E2A2-5900-904E-85C5-31C3BC09C9F5}" dt="2023-09-01T12:07:03.913" v="1163" actId="165"/>
          <ac:grpSpMkLst>
            <pc:docMk/>
            <pc:sldMk cId="2138093270" sldId="346"/>
            <ac:grpSpMk id="2059" creationId="{A9E219CF-23DE-10F4-4D66-F9FFAB577975}"/>
          </ac:grpSpMkLst>
        </pc:grpChg>
        <pc:picChg chg="add del mod">
          <ac:chgData name="Kieran Baker" userId="5619c06d-f213-4eaf-af79-ea49a5258dc4" providerId="ADAL" clId="{C039E2A2-5900-904E-85C5-31C3BC09C9F5}" dt="2023-09-01T11:28:09.563" v="1029" actId="478"/>
          <ac:picMkLst>
            <pc:docMk/>
            <pc:sldMk cId="2138093270" sldId="346"/>
            <ac:picMk id="61" creationId="{05004E5B-C94F-30B1-23B3-C5570D8F8B68}"/>
          </ac:picMkLst>
        </pc:picChg>
        <pc:picChg chg="add del">
          <ac:chgData name="Kieran Baker" userId="5619c06d-f213-4eaf-af79-ea49a5258dc4" providerId="ADAL" clId="{C039E2A2-5900-904E-85C5-31C3BC09C9F5}" dt="2023-09-01T11:19:34.078" v="974" actId="478"/>
          <ac:picMkLst>
            <pc:docMk/>
            <pc:sldMk cId="2138093270" sldId="346"/>
            <ac:picMk id="62" creationId="{FEE8CB83-615E-DA9B-7FF1-C5B2E91FB123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48" creationId="{CA6D2D7D-CEF1-CEB0-53D7-0BB975631231}"/>
          </ac:picMkLst>
        </pc:picChg>
        <pc:picChg chg="add del mod">
          <ac:chgData name="Kieran Baker" userId="5619c06d-f213-4eaf-af79-ea49a5258dc4" providerId="ADAL" clId="{C039E2A2-5900-904E-85C5-31C3BC09C9F5}" dt="2023-09-01T11:20:32.814" v="983" actId="478"/>
          <ac:picMkLst>
            <pc:docMk/>
            <pc:sldMk cId="2138093270" sldId="346"/>
            <ac:picMk id="2050" creationId="{6897DEF1-B35C-9723-AFA1-56B8BB97A729}"/>
          </ac:picMkLst>
        </pc:picChg>
        <pc:picChg chg="add del">
          <ac:chgData name="Kieran Baker" userId="5619c06d-f213-4eaf-af79-ea49a5258dc4" providerId="ADAL" clId="{C039E2A2-5900-904E-85C5-31C3BC09C9F5}" dt="2023-09-01T11:19:11.086" v="972" actId="478"/>
          <ac:picMkLst>
            <pc:docMk/>
            <pc:sldMk cId="2138093270" sldId="346"/>
            <ac:picMk id="2054" creationId="{DDF5E42D-3E72-E991-CDE8-782B78839D3E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56" creationId="{6502BD48-33D5-DE51-1FF9-8B86A1631668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58" creationId="{66D8BF23-53C8-3B25-EE06-DEBAC6D4CC58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60" creationId="{657A77F9-52EE-6928-ACA0-89C3B8ADACD6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62" creationId="{35845D96-39B7-3DA9-A268-E374E2E89BB9}"/>
          </ac:picMkLst>
        </pc:picChg>
        <pc:cxnChg chg="add mod">
          <ac:chgData name="Kieran Baker" userId="5619c06d-f213-4eaf-af79-ea49a5258dc4" providerId="ADAL" clId="{C039E2A2-5900-904E-85C5-31C3BC09C9F5}" dt="2023-09-02T09:41:43.900" v="1531" actId="1035"/>
          <ac:cxnSpMkLst>
            <pc:docMk/>
            <pc:sldMk cId="2138093270" sldId="346"/>
            <ac:cxnSpMk id="4" creationId="{65859FC2-4235-A286-0543-8FB59B1E5A5A}"/>
          </ac:cxnSpMkLst>
        </pc:cxnChg>
        <pc:cxnChg chg="add mod">
          <ac:chgData name="Kieran Baker" userId="5619c06d-f213-4eaf-af79-ea49a5258dc4" providerId="ADAL" clId="{C039E2A2-5900-904E-85C5-31C3BC09C9F5}" dt="2023-09-02T09:41:43.900" v="1531" actId="1035"/>
          <ac:cxnSpMkLst>
            <pc:docMk/>
            <pc:sldMk cId="2138093270" sldId="346"/>
            <ac:cxnSpMk id="5" creationId="{CE30748F-2895-AF09-11EC-D0326956D05D}"/>
          </ac:cxnSpMkLst>
        </pc:cxnChg>
        <pc:cxnChg chg="add mod">
          <ac:chgData name="Kieran Baker" userId="5619c06d-f213-4eaf-af79-ea49a5258dc4" providerId="ADAL" clId="{C039E2A2-5900-904E-85C5-31C3BC09C9F5}" dt="2023-09-02T09:41:43.900" v="1531" actId="1035"/>
          <ac:cxnSpMkLst>
            <pc:docMk/>
            <pc:sldMk cId="2138093270" sldId="346"/>
            <ac:cxnSpMk id="6" creationId="{1EFB73B2-5D9B-ECE4-F146-1852667CB14C}"/>
          </ac:cxnSpMkLst>
        </pc:cxnChg>
      </pc:sldChg>
      <pc:sldChg chg="add del">
        <pc:chgData name="Kieran Baker" userId="5619c06d-f213-4eaf-af79-ea49a5258dc4" providerId="ADAL" clId="{C039E2A2-5900-904E-85C5-31C3BC09C9F5}" dt="2023-09-02T10:12:36.198" v="2231" actId="2696"/>
        <pc:sldMkLst>
          <pc:docMk/>
          <pc:sldMk cId="176538342" sldId="347"/>
        </pc:sldMkLst>
      </pc:sldChg>
      <pc:sldMasterChg chg="modSldLayout">
        <pc:chgData name="Kieran Baker" userId="5619c06d-f213-4eaf-af79-ea49a5258dc4" providerId="ADAL" clId="{C039E2A2-5900-904E-85C5-31C3BC09C9F5}" dt="2023-09-01T10:45:05.142" v="753"/>
        <pc:sldMasterMkLst>
          <pc:docMk/>
          <pc:sldMasterMk cId="114168096" sldId="2147483648"/>
        </pc:sldMasterMkLst>
        <pc:sldLayoutChg chg="addSp delSp modSp mod">
          <pc:chgData name="Kieran Baker" userId="5619c06d-f213-4eaf-af79-ea49a5258dc4" providerId="ADAL" clId="{C039E2A2-5900-904E-85C5-31C3BC09C9F5}" dt="2023-09-01T10:45:05.142" v="753"/>
          <pc:sldLayoutMkLst>
            <pc:docMk/>
            <pc:sldMasterMk cId="114168096" sldId="2147483648"/>
            <pc:sldLayoutMk cId="3425906608" sldId="2147483660"/>
          </pc:sldLayoutMkLst>
          <pc:spChg chg="add del mod">
            <ac:chgData name="Kieran Baker" userId="5619c06d-f213-4eaf-af79-ea49a5258dc4" providerId="ADAL" clId="{C039E2A2-5900-904E-85C5-31C3BC09C9F5}" dt="2023-09-01T10:45:05.142" v="753"/>
            <ac:spMkLst>
              <pc:docMk/>
              <pc:sldMasterMk cId="114168096" sldId="2147483648"/>
              <pc:sldLayoutMk cId="3425906608" sldId="2147483660"/>
              <ac:spMk id="3" creationId="{E3E34D23-E277-0EDE-D408-0B874DEF88B3}"/>
            </ac:spMkLst>
          </pc:spChg>
        </pc:sldLayoutChg>
      </pc:sldMasterChg>
    </pc:docChg>
  </pc:docChgLst>
  <pc:docChgLst>
    <pc:chgData name="Toby Lewis" userId="066a3a73-b684-4af0-a6ca-f0fee0166471" providerId="ADAL" clId="{F5F3857A-6011-984D-BCFB-F6CEB17D7916}"/>
    <pc:docChg chg="undo custSel addSld delSld modSld sldOrd">
      <pc:chgData name="Toby Lewis" userId="066a3a73-b684-4af0-a6ca-f0fee0166471" providerId="ADAL" clId="{F5F3857A-6011-984D-BCFB-F6CEB17D7916}" dt="2023-09-04T14:22:55.305" v="6276" actId="20577"/>
      <pc:docMkLst>
        <pc:docMk/>
      </pc:docMkLst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525410770" sldId="259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367322003" sldId="26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0106530" sldId="262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092287061" sldId="263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622440249" sldId="264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692396610" sldId="265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707348762" sldId="267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211222252" sldId="269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707737708" sldId="270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543045051" sldId="27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62456325" sldId="272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294093689" sldId="274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833174965" sldId="290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628809451" sldId="293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949061116" sldId="295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0157965" sldId="296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214111906" sldId="297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47035631" sldId="298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453745586" sldId="299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969762775" sldId="300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616179437" sldId="30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908649120" sldId="302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408977846" sldId="303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409623047" sldId="304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146820113" sldId="305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541776751" sldId="306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496372646" sldId="307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247786372" sldId="308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252809367" sldId="31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268377354" sldId="312"/>
        </pc:sldMkLst>
      </pc:sldChg>
      <pc:sldChg chg="modSp mod">
        <pc:chgData name="Toby Lewis" userId="066a3a73-b684-4af0-a6ca-f0fee0166471" providerId="ADAL" clId="{F5F3857A-6011-984D-BCFB-F6CEB17D7916}" dt="2023-09-04T12:58:21.196" v="6238" actId="20577"/>
        <pc:sldMkLst>
          <pc:docMk/>
          <pc:sldMk cId="538400325" sldId="315"/>
        </pc:sldMkLst>
        <pc:spChg chg="mod">
          <ac:chgData name="Toby Lewis" userId="066a3a73-b684-4af0-a6ca-f0fee0166471" providerId="ADAL" clId="{F5F3857A-6011-984D-BCFB-F6CEB17D7916}" dt="2023-09-04T12:57:48.743" v="6209" actId="20577"/>
          <ac:spMkLst>
            <pc:docMk/>
            <pc:sldMk cId="538400325" sldId="315"/>
            <ac:spMk id="4" creationId="{1993097B-D28E-F847-9DF3-3A9010109551}"/>
          </ac:spMkLst>
        </pc:spChg>
        <pc:spChg chg="mod">
          <ac:chgData name="Toby Lewis" userId="066a3a73-b684-4af0-a6ca-f0fee0166471" providerId="ADAL" clId="{F5F3857A-6011-984D-BCFB-F6CEB17D7916}" dt="2023-09-04T12:57:19.398" v="6150" actId="400"/>
          <ac:spMkLst>
            <pc:docMk/>
            <pc:sldMk cId="538400325" sldId="315"/>
            <ac:spMk id="5" creationId="{6F5C0B73-9346-4C4F-BB4D-FE37AA3F41B0}"/>
          </ac:spMkLst>
        </pc:spChg>
        <pc:spChg chg="mod">
          <ac:chgData name="Toby Lewis" userId="066a3a73-b684-4af0-a6ca-f0fee0166471" providerId="ADAL" clId="{F5F3857A-6011-984D-BCFB-F6CEB17D7916}" dt="2023-09-04T12:58:21.196" v="6238" actId="20577"/>
          <ac:spMkLst>
            <pc:docMk/>
            <pc:sldMk cId="538400325" sldId="315"/>
            <ac:spMk id="6" creationId="{99012D9C-2F0F-C942-8FAD-477FEB42ABDE}"/>
          </ac:spMkLst>
        </pc:spChg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019649012" sldId="316"/>
        </pc:sldMkLst>
      </pc:sldChg>
      <pc:sldChg chg="modSp mod">
        <pc:chgData name="Toby Lewis" userId="066a3a73-b684-4af0-a6ca-f0fee0166471" providerId="ADAL" clId="{F5F3857A-6011-984D-BCFB-F6CEB17D7916}" dt="2023-09-03T18:35:32.908" v="159" actId="20577"/>
        <pc:sldMkLst>
          <pc:docMk/>
          <pc:sldMk cId="2115063339" sldId="324"/>
        </pc:sldMkLst>
        <pc:spChg chg="mod">
          <ac:chgData name="Toby Lewis" userId="066a3a73-b684-4af0-a6ca-f0fee0166471" providerId="ADAL" clId="{F5F3857A-6011-984D-BCFB-F6CEB17D7916}" dt="2023-09-03T18:35:28.877" v="155" actId="20577"/>
          <ac:spMkLst>
            <pc:docMk/>
            <pc:sldMk cId="2115063339" sldId="324"/>
            <ac:spMk id="9" creationId="{BB3FF7AD-2AB7-89E6-08D5-3B69A95A608F}"/>
          </ac:spMkLst>
        </pc:spChg>
        <pc:spChg chg="mod">
          <ac:chgData name="Toby Lewis" userId="066a3a73-b684-4af0-a6ca-f0fee0166471" providerId="ADAL" clId="{F5F3857A-6011-984D-BCFB-F6CEB17D7916}" dt="2023-09-03T18:35:32.908" v="159" actId="20577"/>
          <ac:spMkLst>
            <pc:docMk/>
            <pc:sldMk cId="2115063339" sldId="324"/>
            <ac:spMk id="10" creationId="{C180A482-AB03-31AB-662F-57F4836F366E}"/>
          </ac:spMkLst>
        </pc:spChg>
      </pc:sldChg>
      <pc:sldChg chg="del">
        <pc:chgData name="Toby Lewis" userId="066a3a73-b684-4af0-a6ca-f0fee0166471" providerId="ADAL" clId="{F5F3857A-6011-984D-BCFB-F6CEB17D7916}" dt="2023-09-03T18:18:52.690" v="14" actId="2696"/>
        <pc:sldMkLst>
          <pc:docMk/>
          <pc:sldMk cId="2424315076" sldId="327"/>
        </pc:sldMkLst>
      </pc:sldChg>
      <pc:sldChg chg="addSp delSp modSp add del mod">
        <pc:chgData name="Toby Lewis" userId="066a3a73-b684-4af0-a6ca-f0fee0166471" providerId="ADAL" clId="{F5F3857A-6011-984D-BCFB-F6CEB17D7916}" dt="2023-09-03T21:09:43.161" v="2952" actId="2696"/>
        <pc:sldMkLst>
          <pc:docMk/>
          <pc:sldMk cId="322462708" sldId="329"/>
        </pc:sldMkLst>
        <pc:spChg chg="mod">
          <ac:chgData name="Toby Lewis" userId="066a3a73-b684-4af0-a6ca-f0fee0166471" providerId="ADAL" clId="{F5F3857A-6011-984D-BCFB-F6CEB17D7916}" dt="2023-09-03T21:06:39.377" v="2787"/>
          <ac:spMkLst>
            <pc:docMk/>
            <pc:sldMk cId="322462708" sldId="329"/>
            <ac:spMk id="3" creationId="{FC1168EB-DD90-4A06-9DB9-4FC9BE4EBBF3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7" creationId="{3D91F4EC-8B94-F464-569E-D0DC19B89B88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8" creationId="{0764B604-166F-AF25-8302-1E2FEE4F7DCE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9" creationId="{145DC5B4-E95B-A5C6-F414-2A1354400324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10" creationId="{14D29647-B97B-D927-DF43-6512C1DE8399}"/>
          </ac:spMkLst>
        </pc:spChg>
        <pc:cxnChg chg="add del mod">
          <ac:chgData name="Toby Lewis" userId="066a3a73-b684-4af0-a6ca-f0fee0166471" providerId="ADAL" clId="{F5F3857A-6011-984D-BCFB-F6CEB17D7916}" dt="2023-09-03T21:06:08.336" v="2747"/>
          <ac:cxnSpMkLst>
            <pc:docMk/>
            <pc:sldMk cId="322462708" sldId="329"/>
            <ac:cxnSpMk id="11" creationId="{2B1794D1-B1E1-8A8F-548B-1F8AC79C95BC}"/>
          </ac:cxnSpMkLst>
        </pc:cxnChg>
        <pc:cxnChg chg="add del mod">
          <ac:chgData name="Toby Lewis" userId="066a3a73-b684-4af0-a6ca-f0fee0166471" providerId="ADAL" clId="{F5F3857A-6011-984D-BCFB-F6CEB17D7916}" dt="2023-09-03T21:06:08.336" v="2747"/>
          <ac:cxnSpMkLst>
            <pc:docMk/>
            <pc:sldMk cId="322462708" sldId="329"/>
            <ac:cxnSpMk id="12" creationId="{C845E5A4-7920-292F-2AB7-F1A34696D3AA}"/>
          </ac:cxnSpMkLst>
        </pc:cxnChg>
      </pc:sldChg>
      <pc:sldChg chg="addSp delSp modSp add del mod modNotesTx">
        <pc:chgData name="Toby Lewis" userId="066a3a73-b684-4af0-a6ca-f0fee0166471" providerId="ADAL" clId="{F5F3857A-6011-984D-BCFB-F6CEB17D7916}" dt="2023-09-03T22:00:25.584" v="3861" actId="20577"/>
        <pc:sldMkLst>
          <pc:docMk/>
          <pc:sldMk cId="1911536538" sldId="330"/>
        </pc:sldMkLst>
        <pc:spChg chg="mod">
          <ac:chgData name="Toby Lewis" userId="066a3a73-b684-4af0-a6ca-f0fee0166471" providerId="ADAL" clId="{F5F3857A-6011-984D-BCFB-F6CEB17D7916}" dt="2023-09-03T22:00:25.584" v="3861" actId="20577"/>
          <ac:spMkLst>
            <pc:docMk/>
            <pc:sldMk cId="1911536538" sldId="330"/>
            <ac:spMk id="6" creationId="{039496C1-60A5-4D03-9C78-04283CB74603}"/>
          </ac:spMkLst>
        </pc:spChg>
        <pc:spChg chg="del mod">
          <ac:chgData name="Toby Lewis" userId="066a3a73-b684-4af0-a6ca-f0fee0166471" providerId="ADAL" clId="{F5F3857A-6011-984D-BCFB-F6CEB17D7916}" dt="2023-09-03T21:11:12.925" v="3106" actId="478"/>
          <ac:spMkLst>
            <pc:docMk/>
            <pc:sldMk cId="1911536538" sldId="330"/>
            <ac:spMk id="9" creationId="{B0CE97B4-B63F-1315-7A6D-A78C476631D6}"/>
          </ac:spMkLst>
        </pc:spChg>
        <pc:spChg chg="del">
          <ac:chgData name="Toby Lewis" userId="066a3a73-b684-4af0-a6ca-f0fee0166471" providerId="ADAL" clId="{F5F3857A-6011-984D-BCFB-F6CEB17D7916}" dt="2023-09-03T21:11:14.577" v="3107" actId="478"/>
          <ac:spMkLst>
            <pc:docMk/>
            <pc:sldMk cId="1911536538" sldId="330"/>
            <ac:spMk id="10" creationId="{AC4590E1-AFDF-5297-7435-9D6149FFE443}"/>
          </ac:spMkLst>
        </pc:spChg>
        <pc:spChg chg="del">
          <ac:chgData name="Toby Lewis" userId="066a3a73-b684-4af0-a6ca-f0fee0166471" providerId="ADAL" clId="{F5F3857A-6011-984D-BCFB-F6CEB17D7916}" dt="2023-09-03T21:11:12.183" v="3105" actId="478"/>
          <ac:spMkLst>
            <pc:docMk/>
            <pc:sldMk cId="1911536538" sldId="330"/>
            <ac:spMk id="11" creationId="{9B9C334F-E3D0-9EB4-7CD6-9E172632CDDB}"/>
          </ac:spMkLst>
        </pc:spChg>
        <pc:spChg chg="del">
          <ac:chgData name="Toby Lewis" userId="066a3a73-b684-4af0-a6ca-f0fee0166471" providerId="ADAL" clId="{F5F3857A-6011-984D-BCFB-F6CEB17D7916}" dt="2023-09-03T21:11:16.125" v="3108" actId="478"/>
          <ac:spMkLst>
            <pc:docMk/>
            <pc:sldMk cId="1911536538" sldId="330"/>
            <ac:spMk id="13" creationId="{C66B668A-2C33-894B-6776-B4F2CD8B5FC2}"/>
          </ac:spMkLst>
        </pc:spChg>
        <pc:picChg chg="add mod">
          <ac:chgData name="Toby Lewis" userId="066a3a73-b684-4af0-a6ca-f0fee0166471" providerId="ADAL" clId="{F5F3857A-6011-984D-BCFB-F6CEB17D7916}" dt="2023-09-03T21:57:00.804" v="3853" actId="1076"/>
          <ac:picMkLst>
            <pc:docMk/>
            <pc:sldMk cId="1911536538" sldId="330"/>
            <ac:picMk id="7" creationId="{1BCB37C2-0978-F02A-F620-3B2D1657336D}"/>
          </ac:picMkLst>
        </pc:picChg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3434772306" sldId="331"/>
        </pc:sldMkLst>
      </pc:sldChg>
      <pc:sldChg chg="del">
        <pc:chgData name="Toby Lewis" userId="066a3a73-b684-4af0-a6ca-f0fee0166471" providerId="ADAL" clId="{F5F3857A-6011-984D-BCFB-F6CEB17D7916}" dt="2023-09-03T18:19:24.014" v="16" actId="2696"/>
        <pc:sldMkLst>
          <pc:docMk/>
          <pc:sldMk cId="2048477115" sldId="333"/>
        </pc:sldMkLst>
      </pc:sldChg>
      <pc:sldChg chg="del">
        <pc:chgData name="Toby Lewis" userId="066a3a73-b684-4af0-a6ca-f0fee0166471" providerId="ADAL" clId="{F5F3857A-6011-984D-BCFB-F6CEB17D7916}" dt="2023-09-03T18:19:24.014" v="16" actId="2696"/>
        <pc:sldMkLst>
          <pc:docMk/>
          <pc:sldMk cId="2367032278" sldId="335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3409427940" sldId="336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2119958004" sldId="337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4272378731" sldId="338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920706919" sldId="339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2191082096" sldId="340"/>
        </pc:sldMkLst>
      </pc:sldChg>
      <pc:sldChg chg="del">
        <pc:chgData name="Toby Lewis" userId="066a3a73-b684-4af0-a6ca-f0fee0166471" providerId="ADAL" clId="{F5F3857A-6011-984D-BCFB-F6CEB17D7916}" dt="2023-09-03T18:19:48.849" v="17" actId="2696"/>
        <pc:sldMkLst>
          <pc:docMk/>
          <pc:sldMk cId="3341046973" sldId="344"/>
        </pc:sldMkLst>
      </pc:sldChg>
      <pc:sldChg chg="modSp mod">
        <pc:chgData name="Toby Lewis" userId="066a3a73-b684-4af0-a6ca-f0fee0166471" providerId="ADAL" clId="{F5F3857A-6011-984D-BCFB-F6CEB17D7916}" dt="2023-09-04T10:31:28.692" v="4243" actId="14100"/>
        <pc:sldMkLst>
          <pc:docMk/>
          <pc:sldMk cId="2256222032" sldId="345"/>
        </pc:sldMkLst>
        <pc:spChg chg="mod">
          <ac:chgData name="Toby Lewis" userId="066a3a73-b684-4af0-a6ca-f0fee0166471" providerId="ADAL" clId="{F5F3857A-6011-984D-BCFB-F6CEB17D7916}" dt="2023-09-03T18:17:40.392" v="2" actId="20577"/>
          <ac:spMkLst>
            <pc:docMk/>
            <pc:sldMk cId="2256222032" sldId="345"/>
            <ac:spMk id="35" creationId="{0C4C63E1-AE11-A977-2CE0-C30F46500263}"/>
          </ac:spMkLst>
        </pc:spChg>
        <pc:spChg chg="mod">
          <ac:chgData name="Toby Lewis" userId="066a3a73-b684-4af0-a6ca-f0fee0166471" providerId="ADAL" clId="{F5F3857A-6011-984D-BCFB-F6CEB17D7916}" dt="2023-09-03T18:17:42.962" v="5" actId="20577"/>
          <ac:spMkLst>
            <pc:docMk/>
            <pc:sldMk cId="2256222032" sldId="345"/>
            <ac:spMk id="36" creationId="{F9A16E28-12BC-81AD-01C3-229B3EE52ECF}"/>
          </ac:spMkLst>
        </pc:spChg>
        <pc:spChg chg="mod">
          <ac:chgData name="Toby Lewis" userId="066a3a73-b684-4af0-a6ca-f0fee0166471" providerId="ADAL" clId="{F5F3857A-6011-984D-BCFB-F6CEB17D7916}" dt="2023-09-03T18:17:52.973" v="12" actId="20577"/>
          <ac:spMkLst>
            <pc:docMk/>
            <pc:sldMk cId="2256222032" sldId="345"/>
            <ac:spMk id="37" creationId="{FB00FBE0-3C34-B530-ECC9-E52F63999F36}"/>
          </ac:spMkLst>
        </pc:spChg>
        <pc:spChg chg="mod">
          <ac:chgData name="Toby Lewis" userId="066a3a73-b684-4af0-a6ca-f0fee0166471" providerId="ADAL" clId="{F5F3857A-6011-984D-BCFB-F6CEB17D7916}" dt="2023-09-04T10:31:28.692" v="4243" actId="14100"/>
          <ac:spMkLst>
            <pc:docMk/>
            <pc:sldMk cId="2256222032" sldId="345"/>
            <ac:spMk id="47" creationId="{EDB8D251-8B79-79AC-4913-3D4A20C0BAF8}"/>
          </ac:spMkLst>
        </pc:spChg>
      </pc:sldChg>
      <pc:sldChg chg="add del">
        <pc:chgData name="Toby Lewis" userId="066a3a73-b684-4af0-a6ca-f0fee0166471" providerId="ADAL" clId="{F5F3857A-6011-984D-BCFB-F6CEB17D7916}" dt="2023-09-03T18:55:47.165" v="780" actId="2696"/>
        <pc:sldMkLst>
          <pc:docMk/>
          <pc:sldMk cId="1835634012" sldId="347"/>
        </pc:sldMkLst>
      </pc:sldChg>
      <pc:sldChg chg="add del">
        <pc:chgData name="Toby Lewis" userId="066a3a73-b684-4af0-a6ca-f0fee0166471" providerId="ADAL" clId="{F5F3857A-6011-984D-BCFB-F6CEB17D7916}" dt="2023-09-03T19:58:05.950" v="2165" actId="2696"/>
        <pc:sldMkLst>
          <pc:docMk/>
          <pc:sldMk cId="2858290916" sldId="348"/>
        </pc:sldMkLst>
      </pc:sldChg>
      <pc:sldChg chg="addSp delSp modSp add mod ord modShow">
        <pc:chgData name="Toby Lewis" userId="066a3a73-b684-4af0-a6ca-f0fee0166471" providerId="ADAL" clId="{F5F3857A-6011-984D-BCFB-F6CEB17D7916}" dt="2023-09-03T21:02:11.257" v="2591" actId="729"/>
        <pc:sldMkLst>
          <pc:docMk/>
          <pc:sldMk cId="3326088508" sldId="349"/>
        </pc:sldMkLst>
        <pc:spChg chg="del mod">
          <ac:chgData name="Toby Lewis" userId="066a3a73-b684-4af0-a6ca-f0fee0166471" providerId="ADAL" clId="{F5F3857A-6011-984D-BCFB-F6CEB17D7916}" dt="2023-09-03T20:57:14.751" v="2283" actId="478"/>
          <ac:spMkLst>
            <pc:docMk/>
            <pc:sldMk cId="3326088508" sldId="349"/>
            <ac:spMk id="3" creationId="{FC1168EB-DD90-4A06-9DB9-4FC9BE4EBBF3}"/>
          </ac:spMkLst>
        </pc:spChg>
        <pc:spChg chg="mod">
          <ac:chgData name="Toby Lewis" userId="066a3a73-b684-4af0-a6ca-f0fee0166471" providerId="ADAL" clId="{F5F3857A-6011-984D-BCFB-F6CEB17D7916}" dt="2023-09-03T20:25:01.698" v="2241" actId="1076"/>
          <ac:spMkLst>
            <pc:docMk/>
            <pc:sldMk cId="3326088508" sldId="349"/>
            <ac:spMk id="8" creationId="{F61288BA-174A-4846-4589-4289D228D5A7}"/>
          </ac:spMkLst>
        </pc:spChg>
        <pc:spChg chg="add del mod">
          <ac:chgData name="Toby Lewis" userId="066a3a73-b684-4af0-a6ca-f0fee0166471" providerId="ADAL" clId="{F5F3857A-6011-984D-BCFB-F6CEB17D7916}" dt="2023-09-03T20:13:30.693" v="2173" actId="478"/>
          <ac:spMkLst>
            <pc:docMk/>
            <pc:sldMk cId="3326088508" sldId="349"/>
            <ac:spMk id="14" creationId="{B2AEE431-6B00-5D6D-1FD6-2338D749A11D}"/>
          </ac:spMkLst>
        </pc:spChg>
        <pc:spChg chg="add mod">
          <ac:chgData name="Toby Lewis" userId="066a3a73-b684-4af0-a6ca-f0fee0166471" providerId="ADAL" clId="{F5F3857A-6011-984D-BCFB-F6CEB17D7916}" dt="2023-09-03T20:16:31.662" v="2208" actId="167"/>
          <ac:spMkLst>
            <pc:docMk/>
            <pc:sldMk cId="3326088508" sldId="349"/>
            <ac:spMk id="15" creationId="{9CF65A31-3065-ABF9-330B-998A5FB2F477}"/>
          </ac:spMkLst>
        </pc:spChg>
        <pc:spChg chg="add del mod">
          <ac:chgData name="Toby Lewis" userId="066a3a73-b684-4af0-a6ca-f0fee0166471" providerId="ADAL" clId="{F5F3857A-6011-984D-BCFB-F6CEB17D7916}" dt="2023-09-03T20:15:43.203" v="2197" actId="478"/>
          <ac:spMkLst>
            <pc:docMk/>
            <pc:sldMk cId="3326088508" sldId="349"/>
            <ac:spMk id="16" creationId="{8321B469-6396-8F9A-6D3E-980D9C998C97}"/>
          </ac:spMkLst>
        </pc:spChg>
        <pc:spChg chg="add del mod">
          <ac:chgData name="Toby Lewis" userId="066a3a73-b684-4af0-a6ca-f0fee0166471" providerId="ADAL" clId="{F5F3857A-6011-984D-BCFB-F6CEB17D7916}" dt="2023-09-03T20:15:44.736" v="2198" actId="478"/>
          <ac:spMkLst>
            <pc:docMk/>
            <pc:sldMk cId="3326088508" sldId="349"/>
            <ac:spMk id="17" creationId="{48C79F60-2131-A80D-EB6A-AAE07828B042}"/>
          </ac:spMkLst>
        </pc:spChg>
        <pc:spChg chg="add del mod">
          <ac:chgData name="Toby Lewis" userId="066a3a73-b684-4af0-a6ca-f0fee0166471" providerId="ADAL" clId="{F5F3857A-6011-984D-BCFB-F6CEB17D7916}" dt="2023-09-03T20:15:45.871" v="2199" actId="478"/>
          <ac:spMkLst>
            <pc:docMk/>
            <pc:sldMk cId="3326088508" sldId="349"/>
            <ac:spMk id="18" creationId="{8A849464-BAE6-AF0C-D94C-86C668D278D2}"/>
          </ac:spMkLst>
        </pc:spChg>
        <pc:spChg chg="add mod">
          <ac:chgData name="Toby Lewis" userId="066a3a73-b684-4af0-a6ca-f0fee0166471" providerId="ADAL" clId="{F5F3857A-6011-984D-BCFB-F6CEB17D7916}" dt="2023-09-03T20:16:34.874" v="2209" actId="167"/>
          <ac:spMkLst>
            <pc:docMk/>
            <pc:sldMk cId="3326088508" sldId="349"/>
            <ac:spMk id="19" creationId="{75CC369E-02D7-F5F9-021A-DDD13B5BB92D}"/>
          </ac:spMkLst>
        </pc:spChg>
        <pc:spChg chg="add mod">
          <ac:chgData name="Toby Lewis" userId="066a3a73-b684-4af0-a6ca-f0fee0166471" providerId="ADAL" clId="{F5F3857A-6011-984D-BCFB-F6CEB17D7916}" dt="2023-09-03T20:16:42.241" v="2211" actId="167"/>
          <ac:spMkLst>
            <pc:docMk/>
            <pc:sldMk cId="3326088508" sldId="349"/>
            <ac:spMk id="20" creationId="{3E1AA019-3BA7-B962-ABA7-5674A62B60B7}"/>
          </ac:spMkLst>
        </pc:spChg>
        <pc:spChg chg="add mod">
          <ac:chgData name="Toby Lewis" userId="066a3a73-b684-4af0-a6ca-f0fee0166471" providerId="ADAL" clId="{F5F3857A-6011-984D-BCFB-F6CEB17D7916}" dt="2023-09-03T20:16:38.027" v="2210" actId="167"/>
          <ac:spMkLst>
            <pc:docMk/>
            <pc:sldMk cId="3326088508" sldId="349"/>
            <ac:spMk id="21" creationId="{93A45347-9682-F38B-657F-B83ED58F5717}"/>
          </ac:spMkLst>
        </pc:spChg>
        <pc:spChg chg="add del mod">
          <ac:chgData name="Toby Lewis" userId="066a3a73-b684-4af0-a6ca-f0fee0166471" providerId="ADAL" clId="{F5F3857A-6011-984D-BCFB-F6CEB17D7916}" dt="2023-09-03T20:19:34.576" v="2220" actId="478"/>
          <ac:spMkLst>
            <pc:docMk/>
            <pc:sldMk cId="3326088508" sldId="349"/>
            <ac:spMk id="22" creationId="{3F30B508-BB4A-320F-CCE5-0E6AF79550B5}"/>
          </ac:spMkLst>
        </pc:spChg>
        <pc:spChg chg="add del mod">
          <ac:chgData name="Toby Lewis" userId="066a3a73-b684-4af0-a6ca-f0fee0166471" providerId="ADAL" clId="{F5F3857A-6011-984D-BCFB-F6CEB17D7916}" dt="2023-09-03T20:57:16.351" v="2284" actId="478"/>
          <ac:spMkLst>
            <pc:docMk/>
            <pc:sldMk cId="3326088508" sldId="349"/>
            <ac:spMk id="47" creationId="{FDE6FFE9-B96B-EB0E-FA58-2D25590A61BA}"/>
          </ac:spMkLst>
        </pc:spChg>
        <pc:spChg chg="add del mod">
          <ac:chgData name="Toby Lewis" userId="066a3a73-b684-4af0-a6ca-f0fee0166471" providerId="ADAL" clId="{F5F3857A-6011-984D-BCFB-F6CEB17D7916}" dt="2023-09-03T20:59:44.213" v="2466"/>
          <ac:spMkLst>
            <pc:docMk/>
            <pc:sldMk cId="3326088508" sldId="349"/>
            <ac:spMk id="48" creationId="{02865BBF-033A-A5D8-9860-86519FD96B68}"/>
          </ac:spMkLst>
        </pc:spChg>
        <pc:grpChg chg="add mod">
          <ac:chgData name="Toby Lewis" userId="066a3a73-b684-4af0-a6ca-f0fee0166471" providerId="ADAL" clId="{F5F3857A-6011-984D-BCFB-F6CEB17D7916}" dt="2023-09-03T20:25:01.698" v="2241" actId="1076"/>
          <ac:grpSpMkLst>
            <pc:docMk/>
            <pc:sldMk cId="3326088508" sldId="349"/>
            <ac:grpSpMk id="7" creationId="{FD0F38F0-F8D1-5D00-152F-E4118B9FD0EF}"/>
          </ac:grpSpMkLst>
        </pc:grp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9" creationId="{FDD04A44-6C55-D8AB-6A07-C06EDF16445B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0" creationId="{F08FB150-597F-86DB-8698-78F61D151666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1" creationId="{3EC2B068-A8CF-F506-AC36-4821BF3BF51F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2" creationId="{A36DE8CF-6E50-4449-207E-E3C8929C7430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3" creationId="{25422154-19E5-36C0-D7F6-EE5BD3238B79}"/>
          </ac:picMkLst>
        </pc:picChg>
        <pc:picChg chg="add del mod">
          <ac:chgData name="Toby Lewis" userId="066a3a73-b684-4af0-a6ca-f0fee0166471" providerId="ADAL" clId="{F5F3857A-6011-984D-BCFB-F6CEB17D7916}" dt="2023-09-03T20:22:16.887" v="2223" actId="478"/>
          <ac:picMkLst>
            <pc:docMk/>
            <pc:sldMk cId="3326088508" sldId="349"/>
            <ac:picMk id="24" creationId="{CFDAA2F6-4742-7E26-FBA6-6FC74DE6307C}"/>
          </ac:picMkLst>
        </pc:picChg>
        <pc:picChg chg="add mod">
          <ac:chgData name="Toby Lewis" userId="066a3a73-b684-4af0-a6ca-f0fee0166471" providerId="ADAL" clId="{F5F3857A-6011-984D-BCFB-F6CEB17D7916}" dt="2023-09-03T20:24:58.581" v="2240" actId="1076"/>
          <ac:picMkLst>
            <pc:docMk/>
            <pc:sldMk cId="3326088508" sldId="349"/>
            <ac:picMk id="26" creationId="{6B58A275-8E4D-3DF4-933C-611801B66512}"/>
          </ac:picMkLst>
        </pc:picChg>
        <pc:picChg chg="add mod">
          <ac:chgData name="Toby Lewis" userId="066a3a73-b684-4af0-a6ca-f0fee0166471" providerId="ADAL" clId="{F5F3857A-6011-984D-BCFB-F6CEB17D7916}" dt="2023-09-03T20:24:58.581" v="2240" actId="1076"/>
          <ac:picMkLst>
            <pc:docMk/>
            <pc:sldMk cId="3326088508" sldId="349"/>
            <ac:picMk id="28" creationId="{8B3092A4-489D-49FC-0D99-A42E4FF3E35B}"/>
          </ac:picMkLst>
        </pc:picChg>
        <pc:picChg chg="add mod">
          <ac:chgData name="Toby Lewis" userId="066a3a73-b684-4af0-a6ca-f0fee0166471" providerId="ADAL" clId="{F5F3857A-6011-984D-BCFB-F6CEB17D7916}" dt="2023-09-03T20:24:58.581" v="2240" actId="1076"/>
          <ac:picMkLst>
            <pc:docMk/>
            <pc:sldMk cId="3326088508" sldId="349"/>
            <ac:picMk id="30" creationId="{F8CAD8B6-0741-5FFB-A2B1-3131547E2146}"/>
          </ac:picMkLst>
        </pc:picChg>
        <pc:picChg chg="add mod">
          <ac:chgData name="Toby Lewis" userId="066a3a73-b684-4af0-a6ca-f0fee0166471" providerId="ADAL" clId="{F5F3857A-6011-984D-BCFB-F6CEB17D7916}" dt="2023-09-03T20:54:55.350" v="2270" actId="1076"/>
          <ac:picMkLst>
            <pc:docMk/>
            <pc:sldMk cId="3326088508" sldId="349"/>
            <ac:picMk id="32" creationId="{16F717EE-4343-9956-939C-BA28F381EC31}"/>
          </ac:picMkLst>
        </pc:picChg>
        <pc:picChg chg="add mod">
          <ac:chgData name="Toby Lewis" userId="066a3a73-b684-4af0-a6ca-f0fee0166471" providerId="ADAL" clId="{F5F3857A-6011-984D-BCFB-F6CEB17D7916}" dt="2023-09-03T20:36:08.362" v="2258" actId="1076"/>
          <ac:picMkLst>
            <pc:docMk/>
            <pc:sldMk cId="3326088508" sldId="349"/>
            <ac:picMk id="34" creationId="{ABB01963-3667-5896-997A-F70AECE9420D}"/>
          </ac:picMkLst>
        </pc:picChg>
        <pc:picChg chg="add mod">
          <ac:chgData name="Toby Lewis" userId="066a3a73-b684-4af0-a6ca-f0fee0166471" providerId="ADAL" clId="{F5F3857A-6011-984D-BCFB-F6CEB17D7916}" dt="2023-09-03T20:41:10.694" v="2267" actId="1076"/>
          <ac:picMkLst>
            <pc:docMk/>
            <pc:sldMk cId="3326088508" sldId="349"/>
            <ac:picMk id="36" creationId="{061CCF5B-D8FE-0C27-2EAD-B1DD54310A73}"/>
          </ac:picMkLst>
        </pc:picChg>
        <pc:picChg chg="add del mod">
          <ac:chgData name="Toby Lewis" userId="066a3a73-b684-4af0-a6ca-f0fee0166471" providerId="ADAL" clId="{F5F3857A-6011-984D-BCFB-F6CEB17D7916}" dt="2023-09-03T20:40:04.758" v="2263" actId="478"/>
          <ac:picMkLst>
            <pc:docMk/>
            <pc:sldMk cId="3326088508" sldId="349"/>
            <ac:picMk id="39" creationId="{1E059911-FA59-47B5-42F7-2221A3D4978D}"/>
          </ac:picMkLst>
        </pc:picChg>
        <pc:picChg chg="add mod">
          <ac:chgData name="Toby Lewis" userId="066a3a73-b684-4af0-a6ca-f0fee0166471" providerId="ADAL" clId="{F5F3857A-6011-984D-BCFB-F6CEB17D7916}" dt="2023-09-03T20:41:13.375" v="2268" actId="1076"/>
          <ac:picMkLst>
            <pc:docMk/>
            <pc:sldMk cId="3326088508" sldId="349"/>
            <ac:picMk id="41" creationId="{3C7FDDB4-BBB8-08B2-10E1-730DDE4B0BF7}"/>
          </ac:picMkLst>
        </pc:picChg>
        <pc:picChg chg="add mod">
          <ac:chgData name="Toby Lewis" userId="066a3a73-b684-4af0-a6ca-f0fee0166471" providerId="ADAL" clId="{F5F3857A-6011-984D-BCFB-F6CEB17D7916}" dt="2023-09-03T20:55:37.762" v="2277" actId="1076"/>
          <ac:picMkLst>
            <pc:docMk/>
            <pc:sldMk cId="3326088508" sldId="349"/>
            <ac:picMk id="43" creationId="{2990B0AE-98CB-6CDB-7164-99AD3DD8DE5F}"/>
          </ac:picMkLst>
        </pc:picChg>
        <pc:picChg chg="add mod">
          <ac:chgData name="Toby Lewis" userId="066a3a73-b684-4af0-a6ca-f0fee0166471" providerId="ADAL" clId="{F5F3857A-6011-984D-BCFB-F6CEB17D7916}" dt="2023-09-03T20:57:11.111" v="2282" actId="1076"/>
          <ac:picMkLst>
            <pc:docMk/>
            <pc:sldMk cId="3326088508" sldId="349"/>
            <ac:picMk id="45" creationId="{EED691F6-4E04-7E40-E435-2217BCA90C9C}"/>
          </ac:picMkLst>
        </pc:picChg>
      </pc:sldChg>
      <pc:sldChg chg="addSp delSp modSp add mod">
        <pc:chgData name="Toby Lewis" userId="066a3a73-b684-4af0-a6ca-f0fee0166471" providerId="ADAL" clId="{F5F3857A-6011-984D-BCFB-F6CEB17D7916}" dt="2023-09-04T08:59:44.275" v="4237" actId="13822"/>
        <pc:sldMkLst>
          <pc:docMk/>
          <pc:sldMk cId="3119865158" sldId="350"/>
        </pc:sldMkLst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8" creationId="{8C263B71-AA85-9491-0C66-713B0048861D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14" creationId="{29EE67A2-AA18-E4ED-AFA7-E8D6B1758237}"/>
          </ac:spMkLst>
        </pc:spChg>
        <pc:spChg chg="del">
          <ac:chgData name="Toby Lewis" userId="066a3a73-b684-4af0-a6ca-f0fee0166471" providerId="ADAL" clId="{F5F3857A-6011-984D-BCFB-F6CEB17D7916}" dt="2023-09-04T08:23:56.280" v="4044" actId="478"/>
          <ac:spMkLst>
            <pc:docMk/>
            <pc:sldMk cId="3119865158" sldId="350"/>
            <ac:spMk id="18" creationId="{79CB093E-5715-35FB-7799-99D1F820EEC8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24" creationId="{D05297C7-6B79-247C-A6D0-411CBE15E768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26" creationId="{C4843468-0B66-106A-D336-DF229F9940F5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27" creationId="{D59516F2-1FAF-1F94-C4C8-8849B8250FEE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28" creationId="{A0015E7E-E2FF-01EE-4CCF-C45B92235B3E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29" creationId="{100B85DA-723D-B468-E303-00A943041A5A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31" creationId="{96E42254-BD1E-07E4-7A43-5918A4C9A18D}"/>
          </ac:spMkLst>
        </pc:spChg>
        <pc:spChg chg="mod">
          <ac:chgData name="Toby Lewis" userId="066a3a73-b684-4af0-a6ca-f0fee0166471" providerId="ADAL" clId="{F5F3857A-6011-984D-BCFB-F6CEB17D7916}" dt="2023-09-04T08:36:10.959" v="4082" actId="1076"/>
          <ac:spMkLst>
            <pc:docMk/>
            <pc:sldMk cId="3119865158" sldId="350"/>
            <ac:spMk id="32" creationId="{8DC72B7B-CF1A-F263-63C9-8D0C8F35717E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33" creationId="{19056DF6-84BA-00EC-6F39-DB40D43FCB72}"/>
          </ac:spMkLst>
        </pc:spChg>
        <pc:spChg chg="del">
          <ac:chgData name="Toby Lewis" userId="066a3a73-b684-4af0-a6ca-f0fee0166471" providerId="ADAL" clId="{F5F3857A-6011-984D-BCFB-F6CEB17D7916}" dt="2023-09-04T08:23:58.036" v="4045" actId="478"/>
          <ac:spMkLst>
            <pc:docMk/>
            <pc:sldMk cId="3119865158" sldId="350"/>
            <ac:spMk id="34" creationId="{AC2D3425-18B3-45EF-BA88-640A16823943}"/>
          </ac:spMkLst>
        </pc:spChg>
        <pc:spChg chg="del">
          <ac:chgData name="Toby Lewis" userId="066a3a73-b684-4af0-a6ca-f0fee0166471" providerId="ADAL" clId="{F5F3857A-6011-984D-BCFB-F6CEB17D7916}" dt="2023-09-04T08:24:00.001" v="4046" actId="478"/>
          <ac:spMkLst>
            <pc:docMk/>
            <pc:sldMk cId="3119865158" sldId="350"/>
            <ac:spMk id="35" creationId="{FB883855-4040-7E2D-DA87-93A07C356841}"/>
          </ac:spMkLst>
        </pc:spChg>
        <pc:picChg chg="add mod">
          <ac:chgData name="Toby Lewis" userId="066a3a73-b684-4af0-a6ca-f0fee0166471" providerId="ADAL" clId="{F5F3857A-6011-984D-BCFB-F6CEB17D7916}" dt="2023-09-04T08:25:09.673" v="4063" actId="1076"/>
          <ac:picMkLst>
            <pc:docMk/>
            <pc:sldMk cId="3119865158" sldId="350"/>
            <ac:picMk id="6" creationId="{3807793E-F97D-F295-C23F-F7E53E1FF86B}"/>
          </ac:picMkLst>
        </pc:picChg>
        <pc:picChg chg="add mod">
          <ac:chgData name="Toby Lewis" userId="066a3a73-b684-4af0-a6ca-f0fee0166471" providerId="ADAL" clId="{F5F3857A-6011-984D-BCFB-F6CEB17D7916}" dt="2023-09-04T08:25:20.250" v="4066" actId="1076"/>
          <ac:picMkLst>
            <pc:docMk/>
            <pc:sldMk cId="3119865158" sldId="350"/>
            <ac:picMk id="9" creationId="{F39844AB-4557-F684-6053-E60355AFABEA}"/>
          </ac:picMkLst>
        </pc:picChg>
        <pc:picChg chg="add mod">
          <ac:chgData name="Toby Lewis" userId="066a3a73-b684-4af0-a6ca-f0fee0166471" providerId="ADAL" clId="{F5F3857A-6011-984D-BCFB-F6CEB17D7916}" dt="2023-09-04T08:24:36.411" v="4057" actId="14100"/>
          <ac:picMkLst>
            <pc:docMk/>
            <pc:sldMk cId="3119865158" sldId="350"/>
            <ac:picMk id="11" creationId="{4967CC95-102A-1589-3642-E8A426CC7D6F}"/>
          </ac:picMkLst>
        </pc:picChg>
        <pc:cxnChg chg="add mod">
          <ac:chgData name="Toby Lewis" userId="066a3a73-b684-4af0-a6ca-f0fee0166471" providerId="ADAL" clId="{F5F3857A-6011-984D-BCFB-F6CEB17D7916}" dt="2023-09-04T08:25:09.673" v="4063" actId="1076"/>
          <ac:cxnSpMkLst>
            <pc:docMk/>
            <pc:sldMk cId="3119865158" sldId="350"/>
            <ac:cxnSpMk id="13" creationId="{19585C27-0EC7-414A-7E96-5952C3A00431}"/>
          </ac:cxnSpMkLst>
        </pc:cxnChg>
        <pc:cxnChg chg="add mod">
          <ac:chgData name="Toby Lewis" userId="066a3a73-b684-4af0-a6ca-f0fee0166471" providerId="ADAL" clId="{F5F3857A-6011-984D-BCFB-F6CEB17D7916}" dt="2023-09-04T08:25:20.250" v="4066" actId="1076"/>
          <ac:cxnSpMkLst>
            <pc:docMk/>
            <pc:sldMk cId="3119865158" sldId="350"/>
            <ac:cxnSpMk id="20" creationId="{9AFA91A2-ECF4-AFF7-7AC9-98EA198AC304}"/>
          </ac:cxnSpMkLst>
        </pc:cxnChg>
        <pc:cxnChg chg="add mod">
          <ac:chgData name="Toby Lewis" userId="066a3a73-b684-4af0-a6ca-f0fee0166471" providerId="ADAL" clId="{F5F3857A-6011-984D-BCFB-F6CEB17D7916}" dt="2023-09-04T08:36:10.959" v="4082" actId="1076"/>
          <ac:cxnSpMkLst>
            <pc:docMk/>
            <pc:sldMk cId="3119865158" sldId="350"/>
            <ac:cxnSpMk id="23" creationId="{F395FEFE-356B-D1FB-4FEC-84D49513639A}"/>
          </ac:cxnSpMkLst>
        </pc:cxnChg>
      </pc:sldChg>
      <pc:sldChg chg="add del">
        <pc:chgData name="Toby Lewis" userId="066a3a73-b684-4af0-a6ca-f0fee0166471" providerId="ADAL" clId="{F5F3857A-6011-984D-BCFB-F6CEB17D7916}" dt="2023-09-04T08:13:57.880" v="4041" actId="2696"/>
        <pc:sldMkLst>
          <pc:docMk/>
          <pc:sldMk cId="2561637839" sldId="351"/>
        </pc:sldMkLst>
      </pc:sldChg>
      <pc:sldChg chg="addSp delSp modSp add del mod">
        <pc:chgData name="Toby Lewis" userId="066a3a73-b684-4af0-a6ca-f0fee0166471" providerId="ADAL" clId="{F5F3857A-6011-984D-BCFB-F6CEB17D7916}" dt="2023-09-04T08:37:42.102" v="4101" actId="2696"/>
        <pc:sldMkLst>
          <pc:docMk/>
          <pc:sldMk cId="886457612" sldId="356"/>
        </pc:sldMkLst>
        <pc:spChg chg="add mod">
          <ac:chgData name="Toby Lewis" userId="066a3a73-b684-4af0-a6ca-f0fee0166471" providerId="ADAL" clId="{F5F3857A-6011-984D-BCFB-F6CEB17D7916}" dt="2023-09-04T08:32:25.483" v="4080" actId="20577"/>
          <ac:spMkLst>
            <pc:docMk/>
            <pc:sldMk cId="886457612" sldId="356"/>
            <ac:spMk id="6" creationId="{19E9EE8B-4421-734E-4844-8C5B92D6364C}"/>
          </ac:spMkLst>
        </pc:spChg>
        <pc:spChg chg="mod">
          <ac:chgData name="Toby Lewis" userId="066a3a73-b684-4af0-a6ca-f0fee0166471" providerId="ADAL" clId="{F5F3857A-6011-984D-BCFB-F6CEB17D7916}" dt="2023-09-04T08:32:11.474" v="4074" actId="14100"/>
          <ac:spMkLst>
            <pc:docMk/>
            <pc:sldMk cId="886457612" sldId="356"/>
            <ac:spMk id="8" creationId="{8C263B71-AA85-9491-0C66-713B0048861D}"/>
          </ac:spMkLst>
        </pc:spChg>
        <pc:spChg chg="del mod">
          <ac:chgData name="Toby Lewis" userId="066a3a73-b684-4af0-a6ca-f0fee0166471" providerId="ADAL" clId="{F5F3857A-6011-984D-BCFB-F6CEB17D7916}" dt="2023-09-04T08:32:15.262" v="4077" actId="478"/>
          <ac:spMkLst>
            <pc:docMk/>
            <pc:sldMk cId="886457612" sldId="356"/>
            <ac:spMk id="26" creationId="{C4843468-0B66-106A-D336-DF229F9940F5}"/>
          </ac:spMkLst>
        </pc:spChg>
        <pc:spChg chg="mod">
          <ac:chgData name="Toby Lewis" userId="066a3a73-b684-4af0-a6ca-f0fee0166471" providerId="ADAL" clId="{F5F3857A-6011-984D-BCFB-F6CEB17D7916}" dt="2023-09-04T08:36:01.329" v="4081" actId="1076"/>
          <ac:spMkLst>
            <pc:docMk/>
            <pc:sldMk cId="886457612" sldId="356"/>
            <ac:spMk id="32" creationId="{8DC72B7B-CF1A-F263-63C9-8D0C8F35717E}"/>
          </ac:spMkLst>
        </pc:spChg>
        <pc:cxnChg chg="mod">
          <ac:chgData name="Toby Lewis" userId="066a3a73-b684-4af0-a6ca-f0fee0166471" providerId="ADAL" clId="{F5F3857A-6011-984D-BCFB-F6CEB17D7916}" dt="2023-09-04T08:32:15.262" v="4077" actId="478"/>
          <ac:cxnSpMkLst>
            <pc:docMk/>
            <pc:sldMk cId="886457612" sldId="356"/>
            <ac:cxnSpMk id="20" creationId="{0C31AE1A-9E6D-0D6E-FE97-BCDF60ED5856}"/>
          </ac:cxnSpMkLst>
        </pc:cxnChg>
      </pc:sldChg>
      <pc:sldChg chg="add del">
        <pc:chgData name="Toby Lewis" userId="066a3a73-b684-4af0-a6ca-f0fee0166471" providerId="ADAL" clId="{F5F3857A-6011-984D-BCFB-F6CEB17D7916}" dt="2023-09-03T21:02:18.322" v="2592" actId="2696"/>
        <pc:sldMkLst>
          <pc:docMk/>
          <pc:sldMk cId="2528073561" sldId="357"/>
        </pc:sldMkLst>
      </pc:sldChg>
      <pc:sldChg chg="addSp delSp modSp add mod ord modNotesTx">
        <pc:chgData name="Toby Lewis" userId="066a3a73-b684-4af0-a6ca-f0fee0166471" providerId="ADAL" clId="{F5F3857A-6011-984D-BCFB-F6CEB17D7916}" dt="2023-09-04T13:03:31.289" v="6239" actId="20578"/>
        <pc:sldMkLst>
          <pc:docMk/>
          <pc:sldMk cId="3735590280" sldId="358"/>
        </pc:sldMkLst>
        <pc:spChg chg="add mod">
          <ac:chgData name="Toby Lewis" userId="066a3a73-b684-4af0-a6ca-f0fee0166471" providerId="ADAL" clId="{F5F3857A-6011-984D-BCFB-F6CEB17D7916}" dt="2023-09-03T21:46:14.228" v="3769" actId="1076"/>
          <ac:spMkLst>
            <pc:docMk/>
            <pc:sldMk cId="3735590280" sldId="358"/>
            <ac:spMk id="3" creationId="{B65E00F4-9649-9055-3DC7-66CBE28C2FA7}"/>
          </ac:spMkLst>
        </pc:spChg>
        <pc:spChg chg="mod">
          <ac:chgData name="Toby Lewis" userId="066a3a73-b684-4af0-a6ca-f0fee0166471" providerId="ADAL" clId="{F5F3857A-6011-984D-BCFB-F6CEB17D7916}" dt="2023-09-03T21:44:50.076" v="3751" actId="2085"/>
          <ac:spMkLst>
            <pc:docMk/>
            <pc:sldMk cId="3735590280" sldId="358"/>
            <ac:spMk id="6" creationId="{039496C1-60A5-4D03-9C78-04283CB74603}"/>
          </ac:spMkLst>
        </pc:spChg>
        <pc:spChg chg="add mod">
          <ac:chgData name="Toby Lewis" userId="066a3a73-b684-4af0-a6ca-f0fee0166471" providerId="ADAL" clId="{F5F3857A-6011-984D-BCFB-F6CEB17D7916}" dt="2023-09-03T21:46:14.228" v="3769" actId="1076"/>
          <ac:spMkLst>
            <pc:docMk/>
            <pc:sldMk cId="3735590280" sldId="358"/>
            <ac:spMk id="7" creationId="{383F50D4-02F5-2B3F-A084-0029E2E5220B}"/>
          </ac:spMkLst>
        </pc:spChg>
        <pc:spChg chg="add mod">
          <ac:chgData name="Toby Lewis" userId="066a3a73-b684-4af0-a6ca-f0fee0166471" providerId="ADAL" clId="{F5F3857A-6011-984D-BCFB-F6CEB17D7916}" dt="2023-09-03T21:46:14.228" v="3769" actId="1076"/>
          <ac:spMkLst>
            <pc:docMk/>
            <pc:sldMk cId="3735590280" sldId="358"/>
            <ac:spMk id="8" creationId="{265E0396-170C-6988-5377-7E915E091DFF}"/>
          </ac:spMkLst>
        </pc:spChg>
        <pc:spChg chg="del">
          <ac:chgData name="Toby Lewis" userId="066a3a73-b684-4af0-a6ca-f0fee0166471" providerId="ADAL" clId="{F5F3857A-6011-984D-BCFB-F6CEB17D7916}" dt="2023-09-03T21:19:28.897" v="3421" actId="478"/>
          <ac:spMkLst>
            <pc:docMk/>
            <pc:sldMk cId="3735590280" sldId="358"/>
            <ac:spMk id="9" creationId="{B3BD01D9-CE79-1181-8029-27CE18D86E57}"/>
          </ac:spMkLst>
        </pc:spChg>
        <pc:spChg chg="del">
          <ac:chgData name="Toby Lewis" userId="066a3a73-b684-4af0-a6ca-f0fee0166471" providerId="ADAL" clId="{F5F3857A-6011-984D-BCFB-F6CEB17D7916}" dt="2023-09-03T21:11:24.186" v="3109" actId="478"/>
          <ac:spMkLst>
            <pc:docMk/>
            <pc:sldMk cId="3735590280" sldId="358"/>
            <ac:spMk id="10" creationId="{86961FC9-E720-0769-E806-B9A3AE6ACF09}"/>
          </ac:spMkLst>
        </pc:spChg>
        <pc:spChg chg="del">
          <ac:chgData name="Toby Lewis" userId="066a3a73-b684-4af0-a6ca-f0fee0166471" providerId="ADAL" clId="{F5F3857A-6011-984D-BCFB-F6CEB17D7916}" dt="2023-09-03T21:19:27.975" v="3420" actId="478"/>
          <ac:spMkLst>
            <pc:docMk/>
            <pc:sldMk cId="3735590280" sldId="358"/>
            <ac:spMk id="11" creationId="{E4DD24B4-205D-5E50-2BB5-C5E7131561BF}"/>
          </ac:spMkLst>
        </pc:spChg>
        <pc:spChg chg="del">
          <ac:chgData name="Toby Lewis" userId="066a3a73-b684-4af0-a6ca-f0fee0166471" providerId="ADAL" clId="{F5F3857A-6011-984D-BCFB-F6CEB17D7916}" dt="2023-09-03T21:11:25.801" v="3110" actId="478"/>
          <ac:spMkLst>
            <pc:docMk/>
            <pc:sldMk cId="3735590280" sldId="358"/>
            <ac:spMk id="12" creationId="{FE816D69-4B53-847F-FC4A-562DE5A2780E}"/>
          </ac:spMkLst>
        </pc:spChg>
        <pc:spChg chg="add del mod">
          <ac:chgData name="Toby Lewis" userId="066a3a73-b684-4af0-a6ca-f0fee0166471" providerId="ADAL" clId="{F5F3857A-6011-984D-BCFB-F6CEB17D7916}" dt="2023-09-03T21:43:41.204" v="3699" actId="478"/>
          <ac:spMkLst>
            <pc:docMk/>
            <pc:sldMk cId="3735590280" sldId="358"/>
            <ac:spMk id="13" creationId="{FF4B581C-334F-F555-BAB4-FDFBB155CC86}"/>
          </ac:spMkLst>
        </pc:spChg>
        <pc:spChg chg="add mod">
          <ac:chgData name="Toby Lewis" userId="066a3a73-b684-4af0-a6ca-f0fee0166471" providerId="ADAL" clId="{F5F3857A-6011-984D-BCFB-F6CEB17D7916}" dt="2023-09-03T21:46:22.831" v="3770" actId="14100"/>
          <ac:spMkLst>
            <pc:docMk/>
            <pc:sldMk cId="3735590280" sldId="358"/>
            <ac:spMk id="25" creationId="{EEC03F2D-C257-5D12-45D7-A4012E8A0DF4}"/>
          </ac:spMkLst>
        </pc:sp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14" creationId="{613C3631-2257-8847-50DE-4DF6347F3B26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15" creationId="{D949B68A-95B8-C83E-373A-1237BC521110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16" creationId="{42CF7F8F-953B-B111-38EF-F25323E2A793}"/>
          </ac:picMkLst>
        </pc:picChg>
        <pc:picChg chg="add del mod">
          <ac:chgData name="Toby Lewis" userId="066a3a73-b684-4af0-a6ca-f0fee0166471" providerId="ADAL" clId="{F5F3857A-6011-984D-BCFB-F6CEB17D7916}" dt="2023-09-03T21:41:18.085" v="3656" actId="478"/>
          <ac:picMkLst>
            <pc:docMk/>
            <pc:sldMk cId="3735590280" sldId="358"/>
            <ac:picMk id="18" creationId="{841C2702-D36D-78CA-3CB2-B86C24B18712}"/>
          </ac:picMkLst>
        </pc:picChg>
        <pc:picChg chg="add del mod">
          <ac:chgData name="Toby Lewis" userId="066a3a73-b684-4af0-a6ca-f0fee0166471" providerId="ADAL" clId="{F5F3857A-6011-984D-BCFB-F6CEB17D7916}" dt="2023-09-03T21:41:23.200" v="3658" actId="478"/>
          <ac:picMkLst>
            <pc:docMk/>
            <pc:sldMk cId="3735590280" sldId="358"/>
            <ac:picMk id="20" creationId="{93763431-03C2-82F7-9E8E-7CB04842E172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22" creationId="{9922C61A-8A39-8E9E-946B-02765D588DD3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24" creationId="{1C035FB7-B49F-59FE-AEAD-4A23CDB951FF}"/>
          </ac:picMkLst>
        </pc:picChg>
      </pc:sldChg>
      <pc:sldChg chg="addSp delSp modSp add mod">
        <pc:chgData name="Toby Lewis" userId="066a3a73-b684-4af0-a6ca-f0fee0166471" providerId="ADAL" clId="{F5F3857A-6011-984D-BCFB-F6CEB17D7916}" dt="2023-09-04T08:59:31.692" v="4236" actId="13822"/>
        <pc:sldMkLst>
          <pc:docMk/>
          <pc:sldMk cId="2776737521" sldId="359"/>
        </pc:sldMkLst>
        <pc:spChg chg="mod">
          <ac:chgData name="Toby Lewis" userId="066a3a73-b684-4af0-a6ca-f0fee0166471" providerId="ADAL" clId="{F5F3857A-6011-984D-BCFB-F6CEB17D7916}" dt="2023-09-04T08:09:16.103" v="4000" actId="1076"/>
          <ac:spMkLst>
            <pc:docMk/>
            <pc:sldMk cId="2776737521" sldId="359"/>
            <ac:spMk id="4" creationId="{40DB293A-C8E5-469F-BEB3-B4D4845B20D7}"/>
          </ac:spMkLst>
        </pc:spChg>
        <pc:spChg chg="mod">
          <ac:chgData name="Toby Lewis" userId="066a3a73-b684-4af0-a6ca-f0fee0166471" providerId="ADAL" clId="{F5F3857A-6011-984D-BCFB-F6CEB17D7916}" dt="2023-09-04T08:07:12.036" v="3970" actId="20577"/>
          <ac:spMkLst>
            <pc:docMk/>
            <pc:sldMk cId="2776737521" sldId="359"/>
            <ac:spMk id="7" creationId="{5046E607-0BFA-6899-7931-7D271449EE0A}"/>
          </ac:spMkLst>
        </pc:spChg>
        <pc:spChg chg="mod">
          <ac:chgData name="Toby Lewis" userId="066a3a73-b684-4af0-a6ca-f0fee0166471" providerId="ADAL" clId="{F5F3857A-6011-984D-BCFB-F6CEB17D7916}" dt="2023-09-04T08:59:31.692" v="4236" actId="13822"/>
          <ac:spMkLst>
            <pc:docMk/>
            <pc:sldMk cId="2776737521" sldId="359"/>
            <ac:spMk id="8" creationId="{8C263B71-AA85-9491-0C66-713B0048861D}"/>
          </ac:spMkLst>
        </pc:spChg>
        <pc:spChg chg="mod">
          <ac:chgData name="Toby Lewis" userId="066a3a73-b684-4af0-a6ca-f0fee0166471" providerId="ADAL" clId="{F5F3857A-6011-984D-BCFB-F6CEB17D7916}" dt="2023-09-04T08:09:36.433" v="4002" actId="1076"/>
          <ac:spMkLst>
            <pc:docMk/>
            <pc:sldMk cId="2776737521" sldId="359"/>
            <ac:spMk id="10" creationId="{A16A8F15-5C2B-9C90-D826-DEEE3EF08B39}"/>
          </ac:spMkLst>
        </pc:spChg>
        <pc:spChg chg="mod">
          <ac:chgData name="Toby Lewis" userId="066a3a73-b684-4af0-a6ca-f0fee0166471" providerId="ADAL" clId="{F5F3857A-6011-984D-BCFB-F6CEB17D7916}" dt="2023-09-04T08:09:36.433" v="4002" actId="1076"/>
          <ac:spMkLst>
            <pc:docMk/>
            <pc:sldMk cId="2776737521" sldId="359"/>
            <ac:spMk id="11" creationId="{7B464630-81B2-D2C3-C394-B7241215C378}"/>
          </ac:spMkLst>
        </pc:spChg>
        <pc:spChg chg="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12" creationId="{74CBC429-34E4-966D-E000-5687EDBB92D9}"/>
          </ac:spMkLst>
        </pc:spChg>
        <pc:spChg chg="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13" creationId="{69CB1FE5-9306-2D2B-E750-894AD6D7486A}"/>
          </ac:spMkLst>
        </pc:spChg>
        <pc:spChg chg="add del">
          <ac:chgData name="Toby Lewis" userId="066a3a73-b684-4af0-a6ca-f0fee0166471" providerId="ADAL" clId="{F5F3857A-6011-984D-BCFB-F6CEB17D7916}" dt="2023-09-04T08:01:42.722" v="3908" actId="478"/>
          <ac:spMkLst>
            <pc:docMk/>
            <pc:sldMk cId="2776737521" sldId="359"/>
            <ac:spMk id="32" creationId="{697F47B0-1980-2FC2-538C-EBA49A680AD3}"/>
          </ac:spMkLst>
        </pc:spChg>
        <pc:spChg chg="add mod">
          <ac:chgData name="Toby Lewis" userId="066a3a73-b684-4af0-a6ca-f0fee0166471" providerId="ADAL" clId="{F5F3857A-6011-984D-BCFB-F6CEB17D7916}" dt="2023-09-04T08:08:25.040" v="3992" actId="1076"/>
          <ac:spMkLst>
            <pc:docMk/>
            <pc:sldMk cId="2776737521" sldId="359"/>
            <ac:spMk id="35" creationId="{DA95E8DF-6ED1-B0A2-2768-53FBE4C94101}"/>
          </ac:spMkLst>
        </pc:spChg>
        <pc:spChg chg="add 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36" creationId="{06523DEE-5897-7ED5-3AEA-EC94DECA4887}"/>
          </ac:spMkLst>
        </pc:spChg>
        <pc:spChg chg="add 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40" creationId="{742F1E26-14E8-C61F-3A46-0E52887C9BE4}"/>
          </ac:spMkLst>
        </pc:spChg>
        <pc:picChg chg="add mod">
          <ac:chgData name="Toby Lewis" userId="066a3a73-b684-4af0-a6ca-f0fee0166471" providerId="ADAL" clId="{F5F3857A-6011-984D-BCFB-F6CEB17D7916}" dt="2023-09-04T08:05:33.127" v="3951" actId="1076"/>
          <ac:picMkLst>
            <pc:docMk/>
            <pc:sldMk cId="2776737521" sldId="359"/>
            <ac:picMk id="6" creationId="{9ED71AA8-75D4-FC84-B58D-A7BCB14ACD82}"/>
          </ac:picMkLst>
        </pc:picChg>
        <pc:cxnChg chg="mod">
          <ac:chgData name="Toby Lewis" userId="066a3a73-b684-4af0-a6ca-f0fee0166471" providerId="ADAL" clId="{F5F3857A-6011-984D-BCFB-F6CEB17D7916}" dt="2023-09-04T08:09:50.466" v="4004" actId="14100"/>
          <ac:cxnSpMkLst>
            <pc:docMk/>
            <pc:sldMk cId="2776737521" sldId="359"/>
            <ac:cxnSpMk id="19" creationId="{26A3931D-3BDD-C173-1766-D656067A547E}"/>
          </ac:cxnSpMkLst>
        </pc:cxnChg>
        <pc:cxnChg chg="mod">
          <ac:chgData name="Toby Lewis" userId="066a3a73-b684-4af0-a6ca-f0fee0166471" providerId="ADAL" clId="{F5F3857A-6011-984D-BCFB-F6CEB17D7916}" dt="2023-09-04T08:09:43.419" v="4003" actId="14100"/>
          <ac:cxnSpMkLst>
            <pc:docMk/>
            <pc:sldMk cId="2776737521" sldId="359"/>
            <ac:cxnSpMk id="21" creationId="{D544EA92-5162-B00D-F1A4-D9D252BF712B}"/>
          </ac:cxnSpMkLst>
        </pc:cxnChg>
        <pc:cxnChg chg="mod">
          <ac:chgData name="Toby Lewis" userId="066a3a73-b684-4af0-a6ca-f0fee0166471" providerId="ADAL" clId="{F5F3857A-6011-984D-BCFB-F6CEB17D7916}" dt="2023-09-04T08:10:01.249" v="4006" actId="14100"/>
          <ac:cxnSpMkLst>
            <pc:docMk/>
            <pc:sldMk cId="2776737521" sldId="359"/>
            <ac:cxnSpMk id="23" creationId="{255BDF42-1862-EC6B-48BF-47684ED6DF75}"/>
          </ac:cxnSpMkLst>
        </pc:cxnChg>
        <pc:cxnChg chg="mod">
          <ac:chgData name="Toby Lewis" userId="066a3a73-b684-4af0-a6ca-f0fee0166471" providerId="ADAL" clId="{F5F3857A-6011-984D-BCFB-F6CEB17D7916}" dt="2023-09-04T08:10:04.318" v="4007" actId="14100"/>
          <ac:cxnSpMkLst>
            <pc:docMk/>
            <pc:sldMk cId="2776737521" sldId="359"/>
            <ac:cxnSpMk id="25" creationId="{D1800EE7-90CC-DCAA-2245-3D1023D100E5}"/>
          </ac:cxnSpMkLst>
        </pc:cxnChg>
        <pc:cxnChg chg="add mod">
          <ac:chgData name="Toby Lewis" userId="066a3a73-b684-4af0-a6ca-f0fee0166471" providerId="ADAL" clId="{F5F3857A-6011-984D-BCFB-F6CEB17D7916}" dt="2023-09-04T08:09:55.967" v="4005" actId="14100"/>
          <ac:cxnSpMkLst>
            <pc:docMk/>
            <pc:sldMk cId="2776737521" sldId="359"/>
            <ac:cxnSpMk id="37" creationId="{166AB625-42A2-BC3F-BE05-FA52AB0490C3}"/>
          </ac:cxnSpMkLst>
        </pc:cxnChg>
      </pc:sldChg>
      <pc:sldChg chg="add ord">
        <pc:chgData name="Toby Lewis" userId="066a3a73-b684-4af0-a6ca-f0fee0166471" providerId="ADAL" clId="{F5F3857A-6011-984D-BCFB-F6CEB17D7916}" dt="2023-09-04T10:39:48.566" v="4244" actId="20578"/>
        <pc:sldMkLst>
          <pc:docMk/>
          <pc:sldMk cId="296139634" sldId="360"/>
        </pc:sldMkLst>
      </pc:sldChg>
      <pc:sldChg chg="modSp add mod">
        <pc:chgData name="Toby Lewis" userId="066a3a73-b684-4af0-a6ca-f0fee0166471" providerId="ADAL" clId="{F5F3857A-6011-984D-BCFB-F6CEB17D7916}" dt="2023-09-03T21:02:52.377" v="2611" actId="20577"/>
        <pc:sldMkLst>
          <pc:docMk/>
          <pc:sldMk cId="3670244367" sldId="361"/>
        </pc:sldMkLst>
        <pc:spChg chg="mod">
          <ac:chgData name="Toby Lewis" userId="066a3a73-b684-4af0-a6ca-f0fee0166471" providerId="ADAL" clId="{F5F3857A-6011-984D-BCFB-F6CEB17D7916}" dt="2023-09-03T21:02:52.377" v="2611" actId="20577"/>
          <ac:spMkLst>
            <pc:docMk/>
            <pc:sldMk cId="3670244367" sldId="361"/>
            <ac:spMk id="2" creationId="{150D83FE-DECD-608B-EABB-C7E0BE09D248}"/>
          </ac:spMkLst>
        </pc:spChg>
      </pc:sldChg>
      <pc:sldChg chg="add ord">
        <pc:chgData name="Toby Lewis" userId="066a3a73-b684-4af0-a6ca-f0fee0166471" providerId="ADAL" clId="{F5F3857A-6011-984D-BCFB-F6CEB17D7916}" dt="2023-09-04T12:56:18.149" v="6147" actId="20578"/>
        <pc:sldMkLst>
          <pc:docMk/>
          <pc:sldMk cId="407202139" sldId="362"/>
        </pc:sldMkLst>
      </pc:sldChg>
      <pc:sldChg chg="addSp delSp modSp add del mod modNotesTx">
        <pc:chgData name="Toby Lewis" userId="066a3a73-b684-4af0-a6ca-f0fee0166471" providerId="ADAL" clId="{F5F3857A-6011-984D-BCFB-F6CEB17D7916}" dt="2023-09-03T19:56:10.239" v="2139" actId="2696"/>
        <pc:sldMkLst>
          <pc:docMk/>
          <pc:sldMk cId="3708154812" sldId="363"/>
        </pc:sldMkLst>
        <pc:spChg chg="del">
          <ac:chgData name="Toby Lewis" userId="066a3a73-b684-4af0-a6ca-f0fee0166471" providerId="ADAL" clId="{F5F3857A-6011-984D-BCFB-F6CEB17D7916}" dt="2023-09-03T18:36:56.130" v="163" actId="478"/>
          <ac:spMkLst>
            <pc:docMk/>
            <pc:sldMk cId="3708154812" sldId="363"/>
            <ac:spMk id="2" creationId="{86B1B815-F09B-4830-97DA-584EA1FBFA1F}"/>
          </ac:spMkLst>
        </pc:spChg>
        <pc:spChg chg="add del mod">
          <ac:chgData name="Toby Lewis" userId="066a3a73-b684-4af0-a6ca-f0fee0166471" providerId="ADAL" clId="{F5F3857A-6011-984D-BCFB-F6CEB17D7916}" dt="2023-09-03T18:36:54.465" v="162"/>
          <ac:spMkLst>
            <pc:docMk/>
            <pc:sldMk cId="3708154812" sldId="363"/>
            <ac:spMk id="3" creationId="{0D90BED5-7F70-3CD7-CFA3-B237C10CEFCA}"/>
          </ac:spMkLst>
        </pc:spChg>
        <pc:spChg chg="mod">
          <ac:chgData name="Toby Lewis" userId="066a3a73-b684-4af0-a6ca-f0fee0166471" providerId="ADAL" clId="{F5F3857A-6011-984D-BCFB-F6CEB17D7916}" dt="2023-09-03T18:37:23" v="169" actId="1076"/>
          <ac:spMkLst>
            <pc:docMk/>
            <pc:sldMk cId="3708154812" sldId="363"/>
            <ac:spMk id="7" creationId="{245924C5-CA64-54F8-3B5A-F2A3576C89F8}"/>
          </ac:spMkLst>
        </pc:spChg>
        <pc:spChg chg="add del mod">
          <ac:chgData name="Toby Lewis" userId="066a3a73-b684-4af0-a6ca-f0fee0166471" providerId="ADAL" clId="{F5F3857A-6011-984D-BCFB-F6CEB17D7916}" dt="2023-09-03T18:36:54.465" v="162"/>
          <ac:spMkLst>
            <pc:docMk/>
            <pc:sldMk cId="3708154812" sldId="363"/>
            <ac:spMk id="9" creationId="{75144ED6-55D9-80CB-318B-6445DCD986F3}"/>
          </ac:spMkLst>
        </pc:spChg>
        <pc:spChg chg="add del mod">
          <ac:chgData name="Toby Lewis" userId="066a3a73-b684-4af0-a6ca-f0fee0166471" providerId="ADAL" clId="{F5F3857A-6011-984D-BCFB-F6CEB17D7916}" dt="2023-09-03T18:36:59.277" v="166" actId="478"/>
          <ac:spMkLst>
            <pc:docMk/>
            <pc:sldMk cId="3708154812" sldId="363"/>
            <ac:spMk id="11" creationId="{A8DC5333-D212-0B47-9DB7-662E26A01899}"/>
          </ac:spMkLst>
        </pc:spChg>
        <pc:spChg chg="add del mod">
          <ac:chgData name="Toby Lewis" userId="066a3a73-b684-4af0-a6ca-f0fee0166471" providerId="ADAL" clId="{F5F3857A-6011-984D-BCFB-F6CEB17D7916}" dt="2023-09-03T18:36:57.303" v="165"/>
          <ac:spMkLst>
            <pc:docMk/>
            <pc:sldMk cId="3708154812" sldId="363"/>
            <ac:spMk id="12" creationId="{34A6383B-5C90-7F10-A857-AECF0CF9B97D}"/>
          </ac:spMkLst>
        </pc:spChg>
        <pc:spChg chg="add del mod">
          <ac:chgData name="Toby Lewis" userId="066a3a73-b684-4af0-a6ca-f0fee0166471" providerId="ADAL" clId="{F5F3857A-6011-984D-BCFB-F6CEB17D7916}" dt="2023-09-03T18:36:57.303" v="165"/>
          <ac:spMkLst>
            <pc:docMk/>
            <pc:sldMk cId="3708154812" sldId="363"/>
            <ac:spMk id="13" creationId="{3242C32B-9B9E-113A-594B-9D8C57833DE2}"/>
          </ac:spMkLst>
        </pc:spChg>
        <pc:spChg chg="add mod">
          <ac:chgData name="Toby Lewis" userId="066a3a73-b684-4af0-a6ca-f0fee0166471" providerId="ADAL" clId="{F5F3857A-6011-984D-BCFB-F6CEB17D7916}" dt="2023-09-03T18:37:26.069" v="171" actId="1076"/>
          <ac:spMkLst>
            <pc:docMk/>
            <pc:sldMk cId="3708154812" sldId="363"/>
            <ac:spMk id="14" creationId="{F2EDB9A3-BD53-3257-0B42-0818B3EE30D3}"/>
          </ac:spMkLst>
        </pc:spChg>
        <pc:spChg chg="add mod">
          <ac:chgData name="Toby Lewis" userId="066a3a73-b684-4af0-a6ca-f0fee0166471" providerId="ADAL" clId="{F5F3857A-6011-984D-BCFB-F6CEB17D7916}" dt="2023-09-03T18:40:39.475" v="395" actId="20577"/>
          <ac:spMkLst>
            <pc:docMk/>
            <pc:sldMk cId="3708154812" sldId="363"/>
            <ac:spMk id="15" creationId="{C950E3FA-F5CA-7471-D5FC-501E7E6F9DDD}"/>
          </ac:spMkLst>
        </pc:spChg>
        <pc:spChg chg="mod">
          <ac:chgData name="Toby Lewis" userId="066a3a73-b684-4af0-a6ca-f0fee0166471" providerId="ADAL" clId="{F5F3857A-6011-984D-BCFB-F6CEB17D7916}" dt="2023-09-03T18:45:44.329" v="607" actId="20577"/>
          <ac:spMkLst>
            <pc:docMk/>
            <pc:sldMk cId="3708154812" sldId="363"/>
            <ac:spMk id="29" creationId="{A43D38C8-8634-DC5B-093B-8D7D07606DE5}"/>
          </ac:spMkLst>
        </pc:spChg>
        <pc:spChg chg="del mod">
          <ac:chgData name="Toby Lewis" userId="066a3a73-b684-4af0-a6ca-f0fee0166471" providerId="ADAL" clId="{F5F3857A-6011-984D-BCFB-F6CEB17D7916}" dt="2023-09-03T18:53:20.226" v="715" actId="478"/>
          <ac:spMkLst>
            <pc:docMk/>
            <pc:sldMk cId="3708154812" sldId="363"/>
            <ac:spMk id="30" creationId="{425A328C-EC29-ED96-3D4B-E4C13944C038}"/>
          </ac:spMkLst>
        </pc:spChg>
        <pc:spChg chg="del mod">
          <ac:chgData name="Toby Lewis" userId="066a3a73-b684-4af0-a6ca-f0fee0166471" providerId="ADAL" clId="{F5F3857A-6011-984D-BCFB-F6CEB17D7916}" dt="2023-09-03T18:53:20.226" v="715" actId="478"/>
          <ac:spMkLst>
            <pc:docMk/>
            <pc:sldMk cId="3708154812" sldId="363"/>
            <ac:spMk id="31" creationId="{029CC126-8EB1-1797-8DC2-007EFEBDF803}"/>
          </ac:spMkLst>
        </pc:spChg>
        <pc:spChg chg="del">
          <ac:chgData name="Toby Lewis" userId="066a3a73-b684-4af0-a6ca-f0fee0166471" providerId="ADAL" clId="{F5F3857A-6011-984D-BCFB-F6CEB17D7916}" dt="2023-09-03T18:40:45.051" v="396" actId="478"/>
          <ac:spMkLst>
            <pc:docMk/>
            <pc:sldMk cId="3708154812" sldId="363"/>
            <ac:spMk id="32" creationId="{C0468CA2-19BE-80CB-1A85-775E93B43624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33" creationId="{F4AAFA3D-62C3-F782-E11B-B4329A37D99C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34" creationId="{4B4081B1-C6EA-96AD-D425-1B99423E169F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35" creationId="{7C725654-A593-224D-26ED-1F83C54F1D24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2" creationId="{DFE0D3F2-9D41-9A05-F495-CB198E880A76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3" creationId="{69D72B27-35A8-786B-17FD-0CFB4581A093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6" creationId="{C4B08012-A39C-FC7F-F5DD-80E0EA8688DE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7" creationId="{1FE9C064-69EA-BBB3-F58E-45896870AA74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1" creationId="{148AF71C-4925-BB0F-7B84-2737DDC308E3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6" creationId="{75284270-D6DF-C676-1DC4-67DB64AF0E32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7" creationId="{43734A99-C410-5B52-37FD-D2196EB0D780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8" creationId="{AA675744-DCD2-EB00-0D47-70247A0BF8B8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9" creationId="{98D47C9F-9EF5-3CF0-D692-3BFD924B1B89}"/>
          </ac:spMkLst>
        </pc:spChg>
        <pc:spChg chg="mod">
          <ac:chgData name="Toby Lewis" userId="066a3a73-b684-4af0-a6ca-f0fee0166471" providerId="ADAL" clId="{F5F3857A-6011-984D-BCFB-F6CEB17D7916}" dt="2023-09-03T19:34:04.036" v="1626" actId="27636"/>
          <ac:spMkLst>
            <pc:docMk/>
            <pc:sldMk cId="3708154812" sldId="363"/>
            <ac:spMk id="2051" creationId="{61004DBD-A6EC-393D-5EC9-5667CC430849}"/>
          </ac:spMkLst>
        </pc:spChg>
        <pc:spChg chg="del mod">
          <ac:chgData name="Toby Lewis" userId="066a3a73-b684-4af0-a6ca-f0fee0166471" providerId="ADAL" clId="{F5F3857A-6011-984D-BCFB-F6CEB17D7916}" dt="2023-09-03T18:53:20.226" v="715" actId="478"/>
          <ac:spMkLst>
            <pc:docMk/>
            <pc:sldMk cId="3708154812" sldId="363"/>
            <ac:spMk id="2052" creationId="{A477F890-7B2E-CD4F-44FB-1717DE42F5FD}"/>
          </ac:spMkLst>
        </pc:spChg>
        <pc:spChg chg="del mod">
          <ac:chgData name="Toby Lewis" userId="066a3a73-b684-4af0-a6ca-f0fee0166471" providerId="ADAL" clId="{F5F3857A-6011-984D-BCFB-F6CEB17D7916}" dt="2023-09-03T18:53:22.303" v="716" actId="478"/>
          <ac:spMkLst>
            <pc:docMk/>
            <pc:sldMk cId="3708154812" sldId="363"/>
            <ac:spMk id="2053" creationId="{CD3297F2-CE9B-4D6C-19CA-2136EA13C3B1}"/>
          </ac:spMkLst>
        </pc:spChg>
        <pc:grpChg chg="del">
          <ac:chgData name="Toby Lewis" userId="066a3a73-b684-4af0-a6ca-f0fee0166471" providerId="ADAL" clId="{F5F3857A-6011-984D-BCFB-F6CEB17D7916}" dt="2023-09-03T18:40:48.190" v="397" actId="478"/>
          <ac:grpSpMkLst>
            <pc:docMk/>
            <pc:sldMk cId="3708154812" sldId="363"/>
            <ac:grpSpMk id="2049" creationId="{530CB3BE-9939-D212-3392-5AAE4C74845B}"/>
          </ac:grpSpMkLst>
        </pc:grpChg>
        <pc:graphicFrameChg chg="add del modGraphic">
          <ac:chgData name="Toby Lewis" userId="066a3a73-b684-4af0-a6ca-f0fee0166471" providerId="ADAL" clId="{F5F3857A-6011-984D-BCFB-F6CEB17D7916}" dt="2023-09-03T19:33:58.763" v="1624" actId="478"/>
          <ac:graphicFrameMkLst>
            <pc:docMk/>
            <pc:sldMk cId="3708154812" sldId="363"/>
            <ac:graphicFrameMk id="25" creationId="{4810102C-0D6B-0A61-9638-3BE30B5B850E}"/>
          </ac:graphicFrameMkLst>
        </pc:graphicFrameChg>
        <pc:picChg chg="add del mod">
          <ac:chgData name="Toby Lewis" userId="066a3a73-b684-4af0-a6ca-f0fee0166471" providerId="ADAL" clId="{F5F3857A-6011-984D-BCFB-F6CEB17D7916}" dt="2023-09-03T18:49:01.704" v="679" actId="478"/>
          <ac:picMkLst>
            <pc:docMk/>
            <pc:sldMk cId="3708154812" sldId="363"/>
            <ac:picMk id="16" creationId="{D07D8AFD-FFCA-03C3-FA61-F5C095E07CA3}"/>
          </ac:picMkLst>
        </pc:picChg>
        <pc:picChg chg="add del mod">
          <ac:chgData name="Toby Lewis" userId="066a3a73-b684-4af0-a6ca-f0fee0166471" providerId="ADAL" clId="{F5F3857A-6011-984D-BCFB-F6CEB17D7916}" dt="2023-09-03T18:49:16.877" v="683" actId="478"/>
          <ac:picMkLst>
            <pc:docMk/>
            <pc:sldMk cId="3708154812" sldId="363"/>
            <ac:picMk id="17" creationId="{9606D0F5-F7DC-BED5-59BB-EFB6B9224BC2}"/>
          </ac:picMkLst>
        </pc:picChg>
        <pc:picChg chg="add mod">
          <ac:chgData name="Toby Lewis" userId="066a3a73-b684-4af0-a6ca-f0fee0166471" providerId="ADAL" clId="{F5F3857A-6011-984D-BCFB-F6CEB17D7916}" dt="2023-09-03T18:59:46.084" v="912" actId="14100"/>
          <ac:picMkLst>
            <pc:docMk/>
            <pc:sldMk cId="3708154812" sldId="363"/>
            <ac:picMk id="19" creationId="{A9EFAE87-4F99-C64D-92D5-3D6710E1CF2B}"/>
          </ac:picMkLst>
        </pc:picChg>
        <pc:picChg chg="add mod">
          <ac:chgData name="Toby Lewis" userId="066a3a73-b684-4af0-a6ca-f0fee0166471" providerId="ADAL" clId="{F5F3857A-6011-984D-BCFB-F6CEB17D7916}" dt="2023-09-03T19:34:12.034" v="1628" actId="1076"/>
          <ac:picMkLst>
            <pc:docMk/>
            <pc:sldMk cId="3708154812" sldId="363"/>
            <ac:picMk id="21" creationId="{863D6F01-B852-9614-DA9C-F1C10E957F16}"/>
          </ac:picMkLst>
        </pc:picChg>
        <pc:picChg chg="add mod">
          <ac:chgData name="Toby Lewis" userId="066a3a73-b684-4af0-a6ca-f0fee0166471" providerId="ADAL" clId="{F5F3857A-6011-984D-BCFB-F6CEB17D7916}" dt="2023-09-03T19:34:10.638" v="1627" actId="1076"/>
          <ac:picMkLst>
            <pc:docMk/>
            <pc:sldMk cId="3708154812" sldId="363"/>
            <ac:picMk id="24" creationId="{51ECC449-EA6F-4F38-158E-8302099652DD}"/>
          </ac:picMkLst>
        </pc:picChg>
        <pc:cxnChg chg="mod">
          <ac:chgData name="Toby Lewis" userId="066a3a73-b684-4af0-a6ca-f0fee0166471" providerId="ADAL" clId="{F5F3857A-6011-984D-BCFB-F6CEB17D7916}" dt="2023-09-03T18:53:27.136" v="717" actId="14100"/>
          <ac:cxnSpMkLst>
            <pc:docMk/>
            <pc:sldMk cId="3708154812" sldId="363"/>
            <ac:cxnSpMk id="4" creationId="{65859FC2-4235-A286-0543-8FB59B1E5A5A}"/>
          </ac:cxnSpMkLst>
        </pc:cxnChg>
        <pc:cxnChg chg="del mod">
          <ac:chgData name="Toby Lewis" userId="066a3a73-b684-4af0-a6ca-f0fee0166471" providerId="ADAL" clId="{F5F3857A-6011-984D-BCFB-F6CEB17D7916}" dt="2023-09-03T18:53:20.226" v="715" actId="478"/>
          <ac:cxnSpMkLst>
            <pc:docMk/>
            <pc:sldMk cId="3708154812" sldId="363"/>
            <ac:cxnSpMk id="5" creationId="{CE30748F-2895-AF09-11EC-D0326956D05D}"/>
          </ac:cxnSpMkLst>
        </pc:cxnChg>
        <pc:cxnChg chg="del mod">
          <ac:chgData name="Toby Lewis" userId="066a3a73-b684-4af0-a6ca-f0fee0166471" providerId="ADAL" clId="{F5F3857A-6011-984D-BCFB-F6CEB17D7916}" dt="2023-09-03T18:53:20.226" v="715" actId="478"/>
          <ac:cxnSpMkLst>
            <pc:docMk/>
            <pc:sldMk cId="3708154812" sldId="363"/>
            <ac:cxnSpMk id="6" creationId="{1EFB73B2-5D9B-ECE4-F146-1852667CB14C}"/>
          </ac:cxnSpMkLst>
        </pc:cxnChg>
      </pc:sldChg>
      <pc:sldChg chg="addSp delSp modSp add mod modNotesTx">
        <pc:chgData name="Toby Lewis" userId="066a3a73-b684-4af0-a6ca-f0fee0166471" providerId="ADAL" clId="{F5F3857A-6011-984D-BCFB-F6CEB17D7916}" dt="2023-09-04T07:57:44.144" v="3902" actId="20577"/>
        <pc:sldMkLst>
          <pc:docMk/>
          <pc:sldMk cId="653388137" sldId="364"/>
        </pc:sldMkLst>
        <pc:spChg chg="add del mod">
          <ac:chgData name="Toby Lewis" userId="066a3a73-b684-4af0-a6ca-f0fee0166471" providerId="ADAL" clId="{F5F3857A-6011-984D-BCFB-F6CEB17D7916}" dt="2023-09-04T07:57:18.614" v="3881" actId="478"/>
          <ac:spMkLst>
            <pc:docMk/>
            <pc:sldMk cId="653388137" sldId="364"/>
            <ac:spMk id="2" creationId="{0BF11436-132B-D899-A07D-6C504DD48C1A}"/>
          </ac:spMkLst>
        </pc:spChg>
        <pc:spChg chg="mod">
          <ac:chgData name="Toby Lewis" userId="066a3a73-b684-4af0-a6ca-f0fee0166471" providerId="ADAL" clId="{F5F3857A-6011-984D-BCFB-F6CEB17D7916}" dt="2023-09-03T22:00:55.644" v="3880" actId="20577"/>
          <ac:spMkLst>
            <pc:docMk/>
            <pc:sldMk cId="653388137" sldId="364"/>
            <ac:spMk id="15" creationId="{C950E3FA-F5CA-7471-D5FC-501E7E6F9DDD}"/>
          </ac:spMkLst>
        </pc:spChg>
        <pc:spChg chg="add del">
          <ac:chgData name="Toby Lewis" userId="066a3a73-b684-4af0-a6ca-f0fee0166471" providerId="ADAL" clId="{F5F3857A-6011-984D-BCFB-F6CEB17D7916}" dt="2023-09-03T18:52:33.532" v="705" actId="478"/>
          <ac:spMkLst>
            <pc:docMk/>
            <pc:sldMk cId="653388137" sldId="364"/>
            <ac:spMk id="29" creationId="{A43D38C8-8634-DC5B-093B-8D7D07606DE5}"/>
          </ac:spMkLst>
        </pc:spChg>
        <pc:spChg chg="add del mod">
          <ac:chgData name="Toby Lewis" userId="066a3a73-b684-4af0-a6ca-f0fee0166471" providerId="ADAL" clId="{F5F3857A-6011-984D-BCFB-F6CEB17D7916}" dt="2023-09-03T18:53:05.053" v="712" actId="1076"/>
          <ac:spMkLst>
            <pc:docMk/>
            <pc:sldMk cId="653388137" sldId="364"/>
            <ac:spMk id="30" creationId="{425A328C-EC29-ED96-3D4B-E4C13944C038}"/>
          </ac:spMkLst>
        </pc:spChg>
        <pc:spChg chg="mod">
          <ac:chgData name="Toby Lewis" userId="066a3a73-b684-4af0-a6ca-f0fee0166471" providerId="ADAL" clId="{F5F3857A-6011-984D-BCFB-F6CEB17D7916}" dt="2023-09-03T18:52:52.802" v="710" actId="1076"/>
          <ac:spMkLst>
            <pc:docMk/>
            <pc:sldMk cId="653388137" sldId="364"/>
            <ac:spMk id="31" creationId="{029CC126-8EB1-1797-8DC2-007EFEBDF803}"/>
          </ac:spMkLst>
        </pc:spChg>
        <pc:spChg chg="add del">
          <ac:chgData name="Toby Lewis" userId="066a3a73-b684-4af0-a6ca-f0fee0166471" providerId="ADAL" clId="{F5F3857A-6011-984D-BCFB-F6CEB17D7916}" dt="2023-09-03T18:52:35.347" v="706" actId="478"/>
          <ac:spMkLst>
            <pc:docMk/>
            <pc:sldMk cId="653388137" sldId="364"/>
            <ac:spMk id="2051" creationId="{61004DBD-A6EC-393D-5EC9-5667CC430849}"/>
          </ac:spMkLst>
        </pc:spChg>
        <pc:spChg chg="add del mod">
          <ac:chgData name="Toby Lewis" userId="066a3a73-b684-4af0-a6ca-f0fee0166471" providerId="ADAL" clId="{F5F3857A-6011-984D-BCFB-F6CEB17D7916}" dt="2023-09-03T19:57:48.911" v="2164" actId="20577"/>
          <ac:spMkLst>
            <pc:docMk/>
            <pc:sldMk cId="653388137" sldId="364"/>
            <ac:spMk id="2052" creationId="{A477F890-7B2E-CD4F-44FB-1717DE42F5FD}"/>
          </ac:spMkLst>
        </pc:spChg>
        <pc:spChg chg="mod">
          <ac:chgData name="Toby Lewis" userId="066a3a73-b684-4af0-a6ca-f0fee0166471" providerId="ADAL" clId="{F5F3857A-6011-984D-BCFB-F6CEB17D7916}" dt="2023-09-03T19:28:00.464" v="1611" actId="27636"/>
          <ac:spMkLst>
            <pc:docMk/>
            <pc:sldMk cId="653388137" sldId="364"/>
            <ac:spMk id="2053" creationId="{CD3297F2-CE9B-4D6C-19CA-2136EA13C3B1}"/>
          </ac:spMkLst>
        </pc:spChg>
        <pc:picChg chg="add mod">
          <ac:chgData name="Toby Lewis" userId="066a3a73-b684-4af0-a6ca-f0fee0166471" providerId="ADAL" clId="{F5F3857A-6011-984D-BCFB-F6CEB17D7916}" dt="2023-09-04T07:57:33.362" v="3884" actId="1076"/>
          <ac:picMkLst>
            <pc:docMk/>
            <pc:sldMk cId="653388137" sldId="364"/>
            <ac:picMk id="11" creationId="{F00524B3-10FC-8506-AB35-0FC339655D9F}"/>
          </ac:picMkLst>
        </pc:picChg>
        <pc:picChg chg="del">
          <ac:chgData name="Toby Lewis" userId="066a3a73-b684-4af0-a6ca-f0fee0166471" providerId="ADAL" clId="{F5F3857A-6011-984D-BCFB-F6CEB17D7916}" dt="2023-09-03T18:53:07.635" v="714" actId="478"/>
          <ac:picMkLst>
            <pc:docMk/>
            <pc:sldMk cId="653388137" sldId="364"/>
            <ac:picMk id="19" creationId="{A9EFAE87-4F99-C64D-92D5-3D6710E1CF2B}"/>
          </ac:picMkLst>
        </pc:picChg>
        <pc:picChg chg="del">
          <ac:chgData name="Toby Lewis" userId="066a3a73-b684-4af0-a6ca-f0fee0166471" providerId="ADAL" clId="{F5F3857A-6011-984D-BCFB-F6CEB17D7916}" dt="2023-09-03T18:53:06.297" v="713" actId="478"/>
          <ac:picMkLst>
            <pc:docMk/>
            <pc:sldMk cId="653388137" sldId="364"/>
            <ac:picMk id="21" creationId="{863D6F01-B852-9614-DA9C-F1C10E957F16}"/>
          </ac:picMkLst>
        </pc:picChg>
        <pc:cxnChg chg="add del">
          <ac:chgData name="Toby Lewis" userId="066a3a73-b684-4af0-a6ca-f0fee0166471" providerId="ADAL" clId="{F5F3857A-6011-984D-BCFB-F6CEB17D7916}" dt="2023-09-03T18:52:33.532" v="705" actId="478"/>
          <ac:cxnSpMkLst>
            <pc:docMk/>
            <pc:sldMk cId="653388137" sldId="364"/>
            <ac:cxnSpMk id="4" creationId="{65859FC2-4235-A286-0543-8FB59B1E5A5A}"/>
          </ac:cxnSpMkLst>
        </pc:cxnChg>
        <pc:cxnChg chg="add del mod">
          <ac:chgData name="Toby Lewis" userId="066a3a73-b684-4af0-a6ca-f0fee0166471" providerId="ADAL" clId="{F5F3857A-6011-984D-BCFB-F6CEB17D7916}" dt="2023-09-03T19:57:45.581" v="2162" actId="14100"/>
          <ac:cxnSpMkLst>
            <pc:docMk/>
            <pc:sldMk cId="653388137" sldId="364"/>
            <ac:cxnSpMk id="5" creationId="{CE30748F-2895-AF09-11EC-D0326956D05D}"/>
          </ac:cxnSpMkLst>
        </pc:cxnChg>
        <pc:cxnChg chg="mod">
          <ac:chgData name="Toby Lewis" userId="066a3a73-b684-4af0-a6ca-f0fee0166471" providerId="ADAL" clId="{F5F3857A-6011-984D-BCFB-F6CEB17D7916}" dt="2023-09-03T19:27:58.183" v="1609" actId="14100"/>
          <ac:cxnSpMkLst>
            <pc:docMk/>
            <pc:sldMk cId="653388137" sldId="364"/>
            <ac:cxnSpMk id="6" creationId="{1EFB73B2-5D9B-ECE4-F146-1852667CB14C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4T09:00:14.946" v="4240" actId="13822"/>
        <pc:sldMkLst>
          <pc:docMk/>
          <pc:sldMk cId="147146143" sldId="365"/>
        </pc:sldMkLst>
        <pc:spChg chg="add del mod">
          <ac:chgData name="Toby Lewis" userId="066a3a73-b684-4af0-a6ca-f0fee0166471" providerId="ADAL" clId="{F5F3857A-6011-984D-BCFB-F6CEB17D7916}" dt="2023-09-04T08:56:16.545" v="4227" actId="20577"/>
          <ac:spMkLst>
            <pc:docMk/>
            <pc:sldMk cId="147146143" sldId="365"/>
            <ac:spMk id="3" creationId="{C2D18728-CDDE-A4D5-BCB7-66FB071623EE}"/>
          </ac:spMkLst>
        </pc:spChg>
        <pc:spChg chg="add del mod">
          <ac:chgData name="Toby Lewis" userId="066a3a73-b684-4af0-a6ca-f0fee0166471" providerId="ADAL" clId="{F5F3857A-6011-984D-BCFB-F6CEB17D7916}" dt="2023-09-03T19:06:29.874" v="1000" actId="478"/>
          <ac:spMkLst>
            <pc:docMk/>
            <pc:sldMk cId="147146143" sldId="365"/>
            <ac:spMk id="6" creationId="{8BD05DC9-4526-68EA-89B1-C09202431C3C}"/>
          </ac:spMkLst>
        </pc:spChg>
        <pc:spChg chg="del">
          <ac:chgData name="Toby Lewis" userId="066a3a73-b684-4af0-a6ca-f0fee0166471" providerId="ADAL" clId="{F5F3857A-6011-984D-BCFB-F6CEB17D7916}" dt="2023-09-03T19:04:26.456" v="928" actId="478"/>
          <ac:spMkLst>
            <pc:docMk/>
            <pc:sldMk cId="147146143" sldId="365"/>
            <ac:spMk id="8" creationId="{8C263B71-AA85-9491-0C66-713B0048861D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9" creationId="{2576477F-14A5-FE47-D47B-7AFD707A5CCB}"/>
          </ac:spMkLst>
        </pc:spChg>
        <pc:spChg chg="add del mod">
          <ac:chgData name="Toby Lewis" userId="066a3a73-b684-4af0-a6ca-f0fee0166471" providerId="ADAL" clId="{F5F3857A-6011-984D-BCFB-F6CEB17D7916}" dt="2023-09-03T19:06:02.181" v="994" actId="478"/>
          <ac:spMkLst>
            <pc:docMk/>
            <pc:sldMk cId="147146143" sldId="365"/>
            <ac:spMk id="10" creationId="{F361BD22-14F5-0EF9-05E3-E3038CF744BF}"/>
          </ac:spMkLst>
        </pc:spChg>
        <pc:spChg chg="add del mod">
          <ac:chgData name="Toby Lewis" userId="066a3a73-b684-4af0-a6ca-f0fee0166471" providerId="ADAL" clId="{F5F3857A-6011-984D-BCFB-F6CEB17D7916}" dt="2023-09-03T19:06:03.175" v="995" actId="478"/>
          <ac:spMkLst>
            <pc:docMk/>
            <pc:sldMk cId="147146143" sldId="365"/>
            <ac:spMk id="11" creationId="{6DBAFF72-0CE7-15D8-897B-AED0BA395252}"/>
          </ac:spMkLst>
        </pc:spChg>
        <pc:spChg chg="add del mod">
          <ac:chgData name="Toby Lewis" userId="066a3a73-b684-4af0-a6ca-f0fee0166471" providerId="ADAL" clId="{F5F3857A-6011-984D-BCFB-F6CEB17D7916}" dt="2023-09-03T19:06:29.874" v="1000" actId="478"/>
          <ac:spMkLst>
            <pc:docMk/>
            <pc:sldMk cId="147146143" sldId="365"/>
            <ac:spMk id="12" creationId="{6A3BC80E-9F18-6821-1EEF-48C76D3F4C7D}"/>
          </ac:spMkLst>
        </pc:spChg>
        <pc:spChg chg="add mod">
          <ac:chgData name="Toby Lewis" userId="066a3a73-b684-4af0-a6ca-f0fee0166471" providerId="ADAL" clId="{F5F3857A-6011-984D-BCFB-F6CEB17D7916}" dt="2023-09-04T08:59:21.379" v="4235" actId="13822"/>
          <ac:spMkLst>
            <pc:docMk/>
            <pc:sldMk cId="147146143" sldId="365"/>
            <ac:spMk id="13" creationId="{805303CB-C4B1-D4A5-B96C-C25B933D9B14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14" creationId="{29EE67A2-AA18-E4ED-AFA7-E8D6B1758237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15" creationId="{C9E0FC3D-7ADF-2BAD-4310-4DD3831BC002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16" creationId="{C5902D4D-400C-1FDC-ABBE-25BDCA6F4D95}"/>
          </ac:spMkLst>
        </pc:spChg>
        <pc:spChg chg="del">
          <ac:chgData name="Toby Lewis" userId="066a3a73-b684-4af0-a6ca-f0fee0166471" providerId="ADAL" clId="{F5F3857A-6011-984D-BCFB-F6CEB17D7916}" dt="2023-09-03T19:04:34.952" v="933" actId="478"/>
          <ac:spMkLst>
            <pc:docMk/>
            <pc:sldMk cId="147146143" sldId="365"/>
            <ac:spMk id="18" creationId="{79CB093E-5715-35FB-7799-99D1F820EEC8}"/>
          </ac:spMkLst>
        </pc:spChg>
        <pc:spChg chg="add del mod">
          <ac:chgData name="Toby Lewis" userId="066a3a73-b684-4af0-a6ca-f0fee0166471" providerId="ADAL" clId="{F5F3857A-6011-984D-BCFB-F6CEB17D7916}" dt="2023-09-03T19:06:38.503" v="1004"/>
          <ac:spMkLst>
            <pc:docMk/>
            <pc:sldMk cId="147146143" sldId="365"/>
            <ac:spMk id="19" creationId="{33E6EB8D-72B4-87FB-965F-DA4B1794D381}"/>
          </ac:spMkLst>
        </pc:spChg>
        <pc:spChg chg="add del mod">
          <ac:chgData name="Toby Lewis" userId="066a3a73-b684-4af0-a6ca-f0fee0166471" providerId="ADAL" clId="{F5F3857A-6011-984D-BCFB-F6CEB17D7916}" dt="2023-09-03T19:06:38.503" v="1004"/>
          <ac:spMkLst>
            <pc:docMk/>
            <pc:sldMk cId="147146143" sldId="365"/>
            <ac:spMk id="21" creationId="{B3E2377B-8C87-5F99-9CE7-8889D2BC0D5F}"/>
          </ac:spMkLst>
        </pc:spChg>
        <pc:spChg chg="add del mod">
          <ac:chgData name="Toby Lewis" userId="066a3a73-b684-4af0-a6ca-f0fee0166471" providerId="ADAL" clId="{F5F3857A-6011-984D-BCFB-F6CEB17D7916}" dt="2023-09-03T19:06:38.503" v="1004"/>
          <ac:spMkLst>
            <pc:docMk/>
            <pc:sldMk cId="147146143" sldId="365"/>
            <ac:spMk id="22" creationId="{2C41DCFC-29F3-3487-0CE7-7A9F52A9591A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24" creationId="{D05297C7-6B79-247C-A6D0-411CBE15E768}"/>
          </ac:spMkLst>
        </pc:spChg>
        <pc:spChg chg="del">
          <ac:chgData name="Toby Lewis" userId="066a3a73-b684-4af0-a6ca-f0fee0166471" providerId="ADAL" clId="{F5F3857A-6011-984D-BCFB-F6CEB17D7916}" dt="2023-09-03T19:04:33.276" v="932" actId="478"/>
          <ac:spMkLst>
            <pc:docMk/>
            <pc:sldMk cId="147146143" sldId="365"/>
            <ac:spMk id="25" creationId="{48AEBD78-7392-96A9-0775-8EDAD28821EB}"/>
          </ac:spMkLst>
        </pc:spChg>
        <pc:spChg chg="del">
          <ac:chgData name="Toby Lewis" userId="066a3a73-b684-4af0-a6ca-f0fee0166471" providerId="ADAL" clId="{F5F3857A-6011-984D-BCFB-F6CEB17D7916}" dt="2023-09-03T19:04:32.422" v="931" actId="478"/>
          <ac:spMkLst>
            <pc:docMk/>
            <pc:sldMk cId="147146143" sldId="365"/>
            <ac:spMk id="26" creationId="{C4843468-0B66-106A-D336-DF229F9940F5}"/>
          </ac:spMkLst>
        </pc:spChg>
        <pc:spChg chg="del">
          <ac:chgData name="Toby Lewis" userId="066a3a73-b684-4af0-a6ca-f0fee0166471" providerId="ADAL" clId="{F5F3857A-6011-984D-BCFB-F6CEB17D7916}" dt="2023-09-03T19:04:14.244" v="918" actId="478"/>
          <ac:spMkLst>
            <pc:docMk/>
            <pc:sldMk cId="147146143" sldId="365"/>
            <ac:spMk id="27" creationId="{D59516F2-1FAF-1F94-C4C8-8849B8250FEE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28" creationId="{39B4BA39-E635-E1E6-AC97-5A97B4504B80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29" creationId="{100B85DA-723D-B468-E303-00A943041A5A}"/>
          </ac:spMkLst>
        </pc:spChg>
        <pc:spChg chg="add del mod">
          <ac:chgData name="Toby Lewis" userId="066a3a73-b684-4af0-a6ca-f0fee0166471" providerId="ADAL" clId="{F5F3857A-6011-984D-BCFB-F6CEB17D7916}" dt="2023-09-03T19:07:47.841" v="1065"/>
          <ac:spMkLst>
            <pc:docMk/>
            <pc:sldMk cId="147146143" sldId="365"/>
            <ac:spMk id="31" creationId="{A74CE39E-AB61-6FCD-2BDC-7FE0C41466E3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32" creationId="{8DC72B7B-CF1A-F263-63C9-8D0C8F35717E}"/>
          </ac:spMkLst>
        </pc:spChg>
        <pc:spChg chg="add del mod">
          <ac:chgData name="Toby Lewis" userId="066a3a73-b684-4af0-a6ca-f0fee0166471" providerId="ADAL" clId="{F5F3857A-6011-984D-BCFB-F6CEB17D7916}" dt="2023-09-04T08:51:59.873" v="4177" actId="478"/>
          <ac:spMkLst>
            <pc:docMk/>
            <pc:sldMk cId="147146143" sldId="365"/>
            <ac:spMk id="33" creationId="{91AD5EF0-BCFC-EF59-79F1-E55A9967C906}"/>
          </ac:spMkLst>
        </pc:spChg>
        <pc:spChg chg="del">
          <ac:chgData name="Toby Lewis" userId="066a3a73-b684-4af0-a6ca-f0fee0166471" providerId="ADAL" clId="{F5F3857A-6011-984D-BCFB-F6CEB17D7916}" dt="2023-09-03T19:04:36.372" v="934" actId="478"/>
          <ac:spMkLst>
            <pc:docMk/>
            <pc:sldMk cId="147146143" sldId="365"/>
            <ac:spMk id="34" creationId="{FB5391A6-6B28-4447-750A-485B2F3F7675}"/>
          </ac:spMkLst>
        </pc:spChg>
        <pc:spChg chg="add del mod">
          <ac:chgData name="Toby Lewis" userId="066a3a73-b684-4af0-a6ca-f0fee0166471" providerId="ADAL" clId="{F5F3857A-6011-984D-BCFB-F6CEB17D7916}" dt="2023-09-04T08:51:58.517" v="4176" actId="478"/>
          <ac:spMkLst>
            <pc:docMk/>
            <pc:sldMk cId="147146143" sldId="365"/>
            <ac:spMk id="35" creationId="{E94B7983-67ED-CE1D-F542-A4BC0C29B22A}"/>
          </ac:spMkLst>
        </pc:spChg>
        <pc:spChg chg="add del mod">
          <ac:chgData name="Toby Lewis" userId="066a3a73-b684-4af0-a6ca-f0fee0166471" providerId="ADAL" clId="{F5F3857A-6011-984D-BCFB-F6CEB17D7916}" dt="2023-09-04T08:51:57.310" v="4175" actId="478"/>
          <ac:spMkLst>
            <pc:docMk/>
            <pc:sldMk cId="147146143" sldId="365"/>
            <ac:spMk id="36" creationId="{2DB1DE2F-C0BE-FFD3-2F4F-F41252DF77F1}"/>
          </ac:spMkLst>
        </pc:spChg>
        <pc:spChg chg="add del mod">
          <ac:chgData name="Toby Lewis" userId="066a3a73-b684-4af0-a6ca-f0fee0166471" providerId="ADAL" clId="{F5F3857A-6011-984D-BCFB-F6CEB17D7916}" dt="2023-09-04T08:42:20.078" v="4115" actId="478"/>
          <ac:spMkLst>
            <pc:docMk/>
            <pc:sldMk cId="147146143" sldId="365"/>
            <ac:spMk id="48" creationId="{9699DEEF-9ED5-5046-11E8-9391C9113DF7}"/>
          </ac:spMkLst>
        </pc:spChg>
        <pc:spChg chg="add del mod">
          <ac:chgData name="Toby Lewis" userId="066a3a73-b684-4af0-a6ca-f0fee0166471" providerId="ADAL" clId="{F5F3857A-6011-984D-BCFB-F6CEB17D7916}" dt="2023-09-04T08:45:59.424" v="4129" actId="478"/>
          <ac:spMkLst>
            <pc:docMk/>
            <pc:sldMk cId="147146143" sldId="365"/>
            <ac:spMk id="49" creationId="{E14DA243-1B80-5836-C78E-58E19D255BCE}"/>
          </ac:spMkLst>
        </pc:spChg>
        <pc:spChg chg="add mod">
          <ac:chgData name="Toby Lewis" userId="066a3a73-b684-4af0-a6ca-f0fee0166471" providerId="ADAL" clId="{F5F3857A-6011-984D-BCFB-F6CEB17D7916}" dt="2023-09-04T09:00:14.946" v="4240" actId="13822"/>
          <ac:spMkLst>
            <pc:docMk/>
            <pc:sldMk cId="147146143" sldId="365"/>
            <ac:spMk id="50" creationId="{91B3729B-3457-D6EB-2BFA-017988EAFE6F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1" creationId="{DD38FB7D-7881-0D22-A767-772669C42C92}"/>
          </ac:spMkLst>
        </pc:spChg>
        <pc:spChg chg="add mod">
          <ac:chgData name="Toby Lewis" userId="066a3a73-b684-4af0-a6ca-f0fee0166471" providerId="ADAL" clId="{F5F3857A-6011-984D-BCFB-F6CEB17D7916}" dt="2023-09-04T09:00:14.946" v="4240" actId="13822"/>
          <ac:spMkLst>
            <pc:docMk/>
            <pc:sldMk cId="147146143" sldId="365"/>
            <ac:spMk id="52" creationId="{E8FA466A-5119-9C42-2861-F14706AEC71E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3" creationId="{C2B0172A-180F-4B57-2331-46A016B5A2BA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6" creationId="{8C39DD5A-E0D6-00FB-6095-ACB51A7B7A5E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7" creationId="{941DC4DA-8046-86F6-EE35-BE88F75D92F4}"/>
          </ac:spMkLst>
        </pc:spChg>
        <pc:picChg chg="add mod">
          <ac:chgData name="Toby Lewis" userId="066a3a73-b684-4af0-a6ca-f0fee0166471" providerId="ADAL" clId="{F5F3857A-6011-984D-BCFB-F6CEB17D7916}" dt="2023-09-04T08:55:07.777" v="4219" actId="1076"/>
          <ac:picMkLst>
            <pc:docMk/>
            <pc:sldMk cId="147146143" sldId="365"/>
            <ac:picMk id="59" creationId="{2C238A85-B514-2FAC-ACFD-5475CDAE754B}"/>
          </ac:picMkLst>
        </pc:picChg>
        <pc:cxnChg chg="del mod">
          <ac:chgData name="Toby Lewis" userId="066a3a73-b684-4af0-a6ca-f0fee0166471" providerId="ADAL" clId="{F5F3857A-6011-984D-BCFB-F6CEB17D7916}" dt="2023-09-03T19:04:27.738" v="929" actId="478"/>
          <ac:cxnSpMkLst>
            <pc:docMk/>
            <pc:sldMk cId="147146143" sldId="365"/>
            <ac:cxnSpMk id="17" creationId="{AA878603-B78A-DA88-2EEC-9191B90B4E2F}"/>
          </ac:cxnSpMkLst>
        </pc:cxnChg>
        <pc:cxnChg chg="del mod">
          <ac:chgData name="Toby Lewis" userId="066a3a73-b684-4af0-a6ca-f0fee0166471" providerId="ADAL" clId="{F5F3857A-6011-984D-BCFB-F6CEB17D7916}" dt="2023-09-03T19:04:38.598" v="936" actId="478"/>
          <ac:cxnSpMkLst>
            <pc:docMk/>
            <pc:sldMk cId="147146143" sldId="365"/>
            <ac:cxnSpMk id="20" creationId="{0C31AE1A-9E6D-0D6E-FE97-BCDF60ED5856}"/>
          </ac:cxnSpMkLst>
        </pc:cxnChg>
        <pc:cxnChg chg="del">
          <ac:chgData name="Toby Lewis" userId="066a3a73-b684-4af0-a6ca-f0fee0166471" providerId="ADAL" clId="{F5F3857A-6011-984D-BCFB-F6CEB17D7916}" dt="2023-09-03T19:04:37.515" v="935" actId="478"/>
          <ac:cxnSpMkLst>
            <pc:docMk/>
            <pc:sldMk cId="147146143" sldId="365"/>
            <ac:cxnSpMk id="23" creationId="{EF5BA195-C01D-33FE-0B58-62021DC4C1E3}"/>
          </ac:cxnSpMkLst>
        </pc:cxnChg>
        <pc:cxnChg chg="add del mod">
          <ac:chgData name="Toby Lewis" userId="066a3a73-b684-4af0-a6ca-f0fee0166471" providerId="ADAL" clId="{F5F3857A-6011-984D-BCFB-F6CEB17D7916}" dt="2023-09-03T19:08:47.728" v="1098" actId="478"/>
          <ac:cxnSpMkLst>
            <pc:docMk/>
            <pc:sldMk cId="147146143" sldId="365"/>
            <ac:cxnSpMk id="38" creationId="{EF08DBA9-D693-79C3-E66C-F08D1CFEDAA6}"/>
          </ac:cxnSpMkLst>
        </pc:cxnChg>
        <pc:cxnChg chg="add mod">
          <ac:chgData name="Toby Lewis" userId="066a3a73-b684-4af0-a6ca-f0fee0166471" providerId="ADAL" clId="{F5F3857A-6011-984D-BCFB-F6CEB17D7916}" dt="2023-09-04T08:55:04.977" v="4218" actId="1076"/>
          <ac:cxnSpMkLst>
            <pc:docMk/>
            <pc:sldMk cId="147146143" sldId="365"/>
            <ac:cxnSpMk id="40" creationId="{DA2B9FFA-05D2-E88A-3293-7FCBB4B1D0E4}"/>
          </ac:cxnSpMkLst>
        </pc:cxnChg>
        <pc:cxnChg chg="add del mod">
          <ac:chgData name="Toby Lewis" userId="066a3a73-b684-4af0-a6ca-f0fee0166471" providerId="ADAL" clId="{F5F3857A-6011-984D-BCFB-F6CEB17D7916}" dt="2023-09-04T08:52:10.160" v="4190" actId="478"/>
          <ac:cxnSpMkLst>
            <pc:docMk/>
            <pc:sldMk cId="147146143" sldId="365"/>
            <ac:cxnSpMk id="42" creationId="{02508D8D-D349-14C4-DF50-B1A11CEF1C8D}"/>
          </ac:cxnSpMkLst>
        </pc:cxnChg>
        <pc:cxnChg chg="add mod">
          <ac:chgData name="Toby Lewis" userId="066a3a73-b684-4af0-a6ca-f0fee0166471" providerId="ADAL" clId="{F5F3857A-6011-984D-BCFB-F6CEB17D7916}" dt="2023-09-04T08:55:04.977" v="4218" actId="1076"/>
          <ac:cxnSpMkLst>
            <pc:docMk/>
            <pc:sldMk cId="147146143" sldId="365"/>
            <ac:cxnSpMk id="44" creationId="{D3A11212-F086-3558-4945-6FF943CA419A}"/>
          </ac:cxnSpMkLst>
        </pc:cxnChg>
        <pc:cxnChg chg="add del mod">
          <ac:chgData name="Toby Lewis" userId="066a3a73-b684-4af0-a6ca-f0fee0166471" providerId="ADAL" clId="{F5F3857A-6011-984D-BCFB-F6CEB17D7916}" dt="2023-09-04T08:49:39.835" v="4132" actId="478"/>
          <ac:cxnSpMkLst>
            <pc:docMk/>
            <pc:sldMk cId="147146143" sldId="365"/>
            <ac:cxnSpMk id="46" creationId="{1A5751E4-D51C-5459-A894-DBA4F68E96B5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3T22:00:48.521" v="3871" actId="20577"/>
        <pc:sldMkLst>
          <pc:docMk/>
          <pc:sldMk cId="2971532955" sldId="366"/>
        </pc:sldMkLst>
        <pc:spChg chg="del">
          <ac:chgData name="Toby Lewis" userId="066a3a73-b684-4af0-a6ca-f0fee0166471" providerId="ADAL" clId="{F5F3857A-6011-984D-BCFB-F6CEB17D7916}" dt="2023-09-03T19:35:07.188" v="1630" actId="478"/>
          <ac:spMkLst>
            <pc:docMk/>
            <pc:sldMk cId="2971532955" sldId="366"/>
            <ac:spMk id="2" creationId="{0A1BB2F7-4466-48CB-8430-3BF64CCA4221}"/>
          </ac:spMkLst>
        </pc:spChg>
        <pc:spChg chg="del mod">
          <ac:chgData name="Toby Lewis" userId="066a3a73-b684-4af0-a6ca-f0fee0166471" providerId="ADAL" clId="{F5F3857A-6011-984D-BCFB-F6CEB17D7916}" dt="2023-09-03T19:36:34.003" v="1697" actId="478"/>
          <ac:spMkLst>
            <pc:docMk/>
            <pc:sldMk cId="2971532955" sldId="366"/>
            <ac:spMk id="6" creationId="{EC0466CF-24CB-4709-976B-4A226C018C75}"/>
          </ac:spMkLst>
        </pc:spChg>
        <pc:spChg chg="add del mod">
          <ac:chgData name="Toby Lewis" userId="066a3a73-b684-4af0-a6ca-f0fee0166471" providerId="ADAL" clId="{F5F3857A-6011-984D-BCFB-F6CEB17D7916}" dt="2023-09-03T19:35:10.203" v="1631" actId="478"/>
          <ac:spMkLst>
            <pc:docMk/>
            <pc:sldMk cId="2971532955" sldId="366"/>
            <ac:spMk id="8" creationId="{B2144615-E138-1FAA-1FDC-21354FB58745}"/>
          </ac:spMkLst>
        </pc:spChg>
        <pc:spChg chg="add mod">
          <ac:chgData name="Toby Lewis" userId="066a3a73-b684-4af0-a6ca-f0fee0166471" providerId="ADAL" clId="{F5F3857A-6011-984D-BCFB-F6CEB17D7916}" dt="2023-09-03T19:35:15.898" v="1632"/>
          <ac:spMkLst>
            <pc:docMk/>
            <pc:sldMk cId="2971532955" sldId="366"/>
            <ac:spMk id="9" creationId="{56C11E63-FAD2-13C3-6EE6-452929BFAD76}"/>
          </ac:spMkLst>
        </pc:spChg>
        <pc:spChg chg="add mod">
          <ac:chgData name="Toby Lewis" userId="066a3a73-b684-4af0-a6ca-f0fee0166471" providerId="ADAL" clId="{F5F3857A-6011-984D-BCFB-F6CEB17D7916}" dt="2023-09-03T22:00:48.521" v="3871" actId="20577"/>
          <ac:spMkLst>
            <pc:docMk/>
            <pc:sldMk cId="2971532955" sldId="366"/>
            <ac:spMk id="10" creationId="{532361DE-666B-363B-83D1-930A4796657C}"/>
          </ac:spMkLst>
        </pc:spChg>
        <pc:spChg chg="add del mod">
          <ac:chgData name="Toby Lewis" userId="066a3a73-b684-4af0-a6ca-f0fee0166471" providerId="ADAL" clId="{F5F3857A-6011-984D-BCFB-F6CEB17D7916}" dt="2023-09-03T19:39:59.418" v="1753" actId="478"/>
          <ac:spMkLst>
            <pc:docMk/>
            <pc:sldMk cId="2971532955" sldId="366"/>
            <ac:spMk id="11" creationId="{2996A18B-2322-9F2F-5D80-C3416C6A5BAA}"/>
          </ac:spMkLst>
        </pc:spChg>
        <pc:spChg chg="add mod">
          <ac:chgData name="Toby Lewis" userId="066a3a73-b684-4af0-a6ca-f0fee0166471" providerId="ADAL" clId="{F5F3857A-6011-984D-BCFB-F6CEB17D7916}" dt="2023-09-03T19:39:05.830" v="1732" actId="14100"/>
          <ac:spMkLst>
            <pc:docMk/>
            <pc:sldMk cId="2971532955" sldId="366"/>
            <ac:spMk id="12" creationId="{121A801B-0A28-9552-FA13-F261736921F8}"/>
          </ac:spMkLst>
        </pc:spChg>
        <pc:spChg chg="add mod">
          <ac:chgData name="Toby Lewis" userId="066a3a73-b684-4af0-a6ca-f0fee0166471" providerId="ADAL" clId="{F5F3857A-6011-984D-BCFB-F6CEB17D7916}" dt="2023-09-03T19:39:21.182" v="1738" actId="1076"/>
          <ac:spMkLst>
            <pc:docMk/>
            <pc:sldMk cId="2971532955" sldId="366"/>
            <ac:spMk id="13" creationId="{09AC7F12-DBC1-02C3-0341-2B5C8663B523}"/>
          </ac:spMkLst>
        </pc:spChg>
        <pc:spChg chg="add mod">
          <ac:chgData name="Toby Lewis" userId="066a3a73-b684-4af0-a6ca-f0fee0166471" providerId="ADAL" clId="{F5F3857A-6011-984D-BCFB-F6CEB17D7916}" dt="2023-09-03T19:39:29.880" v="1740" actId="1076"/>
          <ac:spMkLst>
            <pc:docMk/>
            <pc:sldMk cId="2971532955" sldId="366"/>
            <ac:spMk id="14" creationId="{78530993-C448-FA2B-6047-DE8A9814767F}"/>
          </ac:spMkLst>
        </pc:spChg>
        <pc:spChg chg="mod">
          <ac:chgData name="Toby Lewis" userId="066a3a73-b684-4af0-a6ca-f0fee0166471" providerId="ADAL" clId="{F5F3857A-6011-984D-BCFB-F6CEB17D7916}" dt="2023-09-03T19:50:53.492" v="1955" actId="242"/>
          <ac:spMkLst>
            <pc:docMk/>
            <pc:sldMk cId="2971532955" sldId="366"/>
            <ac:spMk id="16" creationId="{FAC83B4E-CD49-B56D-2BDA-6835F8857937}"/>
          </ac:spMkLst>
        </pc:spChg>
        <pc:spChg chg="mod">
          <ac:chgData name="Toby Lewis" userId="066a3a73-b684-4af0-a6ca-f0fee0166471" providerId="ADAL" clId="{F5F3857A-6011-984D-BCFB-F6CEB17D7916}" dt="2023-09-03T19:48:02.963" v="1873" actId="1076"/>
          <ac:spMkLst>
            <pc:docMk/>
            <pc:sldMk cId="2971532955" sldId="366"/>
            <ac:spMk id="17" creationId="{F80A1B4C-4729-3A03-3343-271AD3B6C4F1}"/>
          </ac:spMkLst>
        </pc:spChg>
        <pc:spChg chg="mod">
          <ac:chgData name="Toby Lewis" userId="066a3a73-b684-4af0-a6ca-f0fee0166471" providerId="ADAL" clId="{F5F3857A-6011-984D-BCFB-F6CEB17D7916}" dt="2023-09-03T19:40:59.695" v="1779"/>
          <ac:spMkLst>
            <pc:docMk/>
            <pc:sldMk cId="2971532955" sldId="366"/>
            <ac:spMk id="19" creationId="{C37235D0-6CE4-7A6C-A114-06639CD52E98}"/>
          </ac:spMkLst>
        </pc:spChg>
        <pc:spChg chg="mod">
          <ac:chgData name="Toby Lewis" userId="066a3a73-b684-4af0-a6ca-f0fee0166471" providerId="ADAL" clId="{F5F3857A-6011-984D-BCFB-F6CEB17D7916}" dt="2023-09-03T19:36:09.329" v="1684" actId="20577"/>
          <ac:spMkLst>
            <pc:docMk/>
            <pc:sldMk cId="2971532955" sldId="366"/>
            <ac:spMk id="20" creationId="{317FBA45-276E-40A5-BEC0-9E2249E63496}"/>
          </ac:spMkLst>
        </pc:spChg>
        <pc:spChg chg="mod">
          <ac:chgData name="Toby Lewis" userId="066a3a73-b684-4af0-a6ca-f0fee0166471" providerId="ADAL" clId="{F5F3857A-6011-984D-BCFB-F6CEB17D7916}" dt="2023-09-03T19:36:11.646" v="1688" actId="20577"/>
          <ac:spMkLst>
            <pc:docMk/>
            <pc:sldMk cId="2971532955" sldId="366"/>
            <ac:spMk id="21" creationId="{98A0D056-3633-47E1-8583-841B2C0586FF}"/>
          </ac:spMkLst>
        </pc:spChg>
        <pc:spChg chg="mod">
          <ac:chgData name="Toby Lewis" userId="066a3a73-b684-4af0-a6ca-f0fee0166471" providerId="ADAL" clId="{F5F3857A-6011-984D-BCFB-F6CEB17D7916}" dt="2023-09-03T19:36:13.875" v="1692" actId="20577"/>
          <ac:spMkLst>
            <pc:docMk/>
            <pc:sldMk cId="2971532955" sldId="366"/>
            <ac:spMk id="22" creationId="{3B062EDA-F49E-450F-8B6D-71B9C2337FC6}"/>
          </ac:spMkLst>
        </pc:spChg>
        <pc:spChg chg="mod">
          <ac:chgData name="Toby Lewis" userId="066a3a73-b684-4af0-a6ca-f0fee0166471" providerId="ADAL" clId="{F5F3857A-6011-984D-BCFB-F6CEB17D7916}" dt="2023-09-03T19:40:59.695" v="1779"/>
          <ac:spMkLst>
            <pc:docMk/>
            <pc:sldMk cId="2971532955" sldId="366"/>
            <ac:spMk id="24" creationId="{2140FD4E-9970-4A22-8D2A-7AB457BDD52C}"/>
          </ac:spMkLst>
        </pc:spChg>
        <pc:spChg chg="add mod">
          <ac:chgData name="Toby Lewis" userId="066a3a73-b684-4af0-a6ca-f0fee0166471" providerId="ADAL" clId="{F5F3857A-6011-984D-BCFB-F6CEB17D7916}" dt="2023-09-03T19:47:00.170" v="1819" actId="1076"/>
          <ac:spMkLst>
            <pc:docMk/>
            <pc:sldMk cId="2971532955" sldId="366"/>
            <ac:spMk id="27" creationId="{AE0C4D46-14C2-EA93-754B-D96B9E5B615D}"/>
          </ac:spMkLst>
        </pc:spChg>
        <pc:spChg chg="mod">
          <ac:chgData name="Toby Lewis" userId="066a3a73-b684-4af0-a6ca-f0fee0166471" providerId="ADAL" clId="{F5F3857A-6011-984D-BCFB-F6CEB17D7916}" dt="2023-09-03T19:47:48.293" v="1870" actId="242"/>
          <ac:spMkLst>
            <pc:docMk/>
            <pc:sldMk cId="2971532955" sldId="366"/>
            <ac:spMk id="29" creationId="{6AC2F9BD-4C91-F3F4-BBB7-AC2FF01CADD3}"/>
          </ac:spMkLst>
        </pc:spChg>
        <pc:spChg chg="mod">
          <ac:chgData name="Toby Lewis" userId="066a3a73-b684-4af0-a6ca-f0fee0166471" providerId="ADAL" clId="{F5F3857A-6011-984D-BCFB-F6CEB17D7916}" dt="2023-09-03T19:46:54.375" v="1818"/>
          <ac:spMkLst>
            <pc:docMk/>
            <pc:sldMk cId="2971532955" sldId="366"/>
            <ac:spMk id="30" creationId="{5F462B15-CDCA-6584-BE69-931711CD2339}"/>
          </ac:spMkLst>
        </pc:spChg>
        <pc:spChg chg="add mod">
          <ac:chgData name="Toby Lewis" userId="066a3a73-b684-4af0-a6ca-f0fee0166471" providerId="ADAL" clId="{F5F3857A-6011-984D-BCFB-F6CEB17D7916}" dt="2023-09-03T19:48:53.948" v="1904" actId="1076"/>
          <ac:spMkLst>
            <pc:docMk/>
            <pc:sldMk cId="2971532955" sldId="366"/>
            <ac:spMk id="32" creationId="{76D236D1-FA44-0A59-2F54-C30BF7C4722E}"/>
          </ac:spMkLst>
        </pc:spChg>
        <pc:spChg chg="mod">
          <ac:chgData name="Toby Lewis" userId="066a3a73-b684-4af0-a6ca-f0fee0166471" providerId="ADAL" clId="{F5F3857A-6011-984D-BCFB-F6CEB17D7916}" dt="2023-09-03T19:53:53.789" v="2099" actId="207"/>
          <ac:spMkLst>
            <pc:docMk/>
            <pc:sldMk cId="2971532955" sldId="366"/>
            <ac:spMk id="33" creationId="{20CF3FE0-86DA-49C8-8A4B-67015CB4996B}"/>
          </ac:spMkLst>
        </pc:spChg>
        <pc:spChg chg="mod">
          <ac:chgData name="Toby Lewis" userId="066a3a73-b684-4af0-a6ca-f0fee0166471" providerId="ADAL" clId="{F5F3857A-6011-984D-BCFB-F6CEB17D7916}" dt="2023-09-03T19:53:46.016" v="2097" actId="207"/>
          <ac:spMkLst>
            <pc:docMk/>
            <pc:sldMk cId="2971532955" sldId="366"/>
            <ac:spMk id="35" creationId="{D3D57D90-D16E-403F-A6AC-46846FB1F71D}"/>
          </ac:spMkLst>
        </pc:spChg>
        <pc:spChg chg="mod">
          <ac:chgData name="Toby Lewis" userId="066a3a73-b684-4af0-a6ca-f0fee0166471" providerId="ADAL" clId="{F5F3857A-6011-984D-BCFB-F6CEB17D7916}" dt="2023-09-03T19:37:41.582" v="1718" actId="1076"/>
          <ac:spMkLst>
            <pc:docMk/>
            <pc:sldMk cId="2971532955" sldId="366"/>
            <ac:spMk id="36" creationId="{47246011-D3B7-4768-AD97-5F00A9DE9292}"/>
          </ac:spMkLst>
        </pc:spChg>
        <pc:spChg chg="mod">
          <ac:chgData name="Toby Lewis" userId="066a3a73-b684-4af0-a6ca-f0fee0166471" providerId="ADAL" clId="{F5F3857A-6011-984D-BCFB-F6CEB17D7916}" dt="2023-09-03T19:48:41.749" v="1902"/>
          <ac:spMkLst>
            <pc:docMk/>
            <pc:sldMk cId="2971532955" sldId="366"/>
            <ac:spMk id="37" creationId="{A1FFC765-384D-123E-FE82-9F1F3E939108}"/>
          </ac:spMkLst>
        </pc:spChg>
        <pc:spChg chg="mod">
          <ac:chgData name="Toby Lewis" userId="066a3a73-b684-4af0-a6ca-f0fee0166471" providerId="ADAL" clId="{F5F3857A-6011-984D-BCFB-F6CEB17D7916}" dt="2023-09-03T19:42:42.183" v="1813" actId="14100"/>
          <ac:spMkLst>
            <pc:docMk/>
            <pc:sldMk cId="2971532955" sldId="366"/>
            <ac:spMk id="41" creationId="{B206BAD0-168A-4B42-BEFA-E9845127E1E6}"/>
          </ac:spMkLst>
        </pc:spChg>
        <pc:spChg chg="mod">
          <ac:chgData name="Toby Lewis" userId="066a3a73-b684-4af0-a6ca-f0fee0166471" providerId="ADAL" clId="{F5F3857A-6011-984D-BCFB-F6CEB17D7916}" dt="2023-09-03T19:37:49.751" v="1719" actId="1076"/>
          <ac:spMkLst>
            <pc:docMk/>
            <pc:sldMk cId="2971532955" sldId="366"/>
            <ac:spMk id="42" creationId="{F97679AC-1740-4107-BB2F-ACF6AA76671A}"/>
          </ac:spMkLst>
        </pc:spChg>
        <pc:spChg chg="mod">
          <ac:chgData name="Toby Lewis" userId="066a3a73-b684-4af0-a6ca-f0fee0166471" providerId="ADAL" clId="{F5F3857A-6011-984D-BCFB-F6CEB17D7916}" dt="2023-09-03T19:51:35.052" v="1967" actId="1076"/>
          <ac:spMkLst>
            <pc:docMk/>
            <pc:sldMk cId="2971532955" sldId="366"/>
            <ac:spMk id="43" creationId="{9A2E46F7-BBDA-4A68-BD14-4CBB057A475E}"/>
          </ac:spMkLst>
        </pc:spChg>
        <pc:spChg chg="mod">
          <ac:chgData name="Toby Lewis" userId="066a3a73-b684-4af0-a6ca-f0fee0166471" providerId="ADAL" clId="{F5F3857A-6011-984D-BCFB-F6CEB17D7916}" dt="2023-09-03T19:38:50.584" v="1728" actId="14100"/>
          <ac:spMkLst>
            <pc:docMk/>
            <pc:sldMk cId="2971532955" sldId="366"/>
            <ac:spMk id="44" creationId="{E371937F-8E6B-4429-B487-9A4EDBB06988}"/>
          </ac:spMkLst>
        </pc:spChg>
        <pc:spChg chg="mod">
          <ac:chgData name="Toby Lewis" userId="066a3a73-b684-4af0-a6ca-f0fee0166471" providerId="ADAL" clId="{F5F3857A-6011-984D-BCFB-F6CEB17D7916}" dt="2023-09-03T19:39:57.398" v="1752" actId="20577"/>
          <ac:spMkLst>
            <pc:docMk/>
            <pc:sldMk cId="2971532955" sldId="366"/>
            <ac:spMk id="49" creationId="{4F960233-3D0D-45F8-A347-74A31549FC08}"/>
          </ac:spMkLst>
        </pc:spChg>
        <pc:spChg chg="mod">
          <ac:chgData name="Toby Lewis" userId="066a3a73-b684-4af0-a6ca-f0fee0166471" providerId="ADAL" clId="{F5F3857A-6011-984D-BCFB-F6CEB17D7916}" dt="2023-09-03T19:56:39.080" v="2145" actId="14100"/>
          <ac:spMkLst>
            <pc:docMk/>
            <pc:sldMk cId="2971532955" sldId="366"/>
            <ac:spMk id="52" creationId="{F33A43FA-EE04-4979-BF6A-8B841240A2C5}"/>
          </ac:spMkLst>
        </pc:spChg>
        <pc:spChg chg="mod">
          <ac:chgData name="Toby Lewis" userId="066a3a73-b684-4af0-a6ca-f0fee0166471" providerId="ADAL" clId="{F5F3857A-6011-984D-BCFB-F6CEB17D7916}" dt="2023-09-03T19:56:23.365" v="2141" actId="1076"/>
          <ac:spMkLst>
            <pc:docMk/>
            <pc:sldMk cId="2971532955" sldId="366"/>
            <ac:spMk id="53" creationId="{349D6EFB-36CF-42A4-9E15-DBCF84EC2F89}"/>
          </ac:spMkLst>
        </pc:spChg>
        <pc:spChg chg="mod">
          <ac:chgData name="Toby Lewis" userId="066a3a73-b684-4af0-a6ca-f0fee0166471" providerId="ADAL" clId="{F5F3857A-6011-984D-BCFB-F6CEB17D7916}" dt="2023-09-03T19:41:36.799" v="1803" actId="20577"/>
          <ac:spMkLst>
            <pc:docMk/>
            <pc:sldMk cId="2971532955" sldId="366"/>
            <ac:spMk id="55" creationId="{426E7986-11D1-4EC1-A55B-2BE6613D9B75}"/>
          </ac:spMkLst>
        </pc:spChg>
        <pc:spChg chg="mod">
          <ac:chgData name="Toby Lewis" userId="066a3a73-b684-4af0-a6ca-f0fee0166471" providerId="ADAL" clId="{F5F3857A-6011-984D-BCFB-F6CEB17D7916}" dt="2023-09-03T19:55:29.321" v="2138" actId="207"/>
          <ac:spMkLst>
            <pc:docMk/>
            <pc:sldMk cId="2971532955" sldId="366"/>
            <ac:spMk id="58" creationId="{CEEF16FD-0314-43BB-9253-EA986F3AC9CD}"/>
          </ac:spMkLst>
        </pc:spChg>
        <pc:spChg chg="del mod topLvl">
          <ac:chgData name="Toby Lewis" userId="066a3a73-b684-4af0-a6ca-f0fee0166471" providerId="ADAL" clId="{F5F3857A-6011-984D-BCFB-F6CEB17D7916}" dt="2023-09-03T19:40:44.193" v="1775" actId="478"/>
          <ac:spMkLst>
            <pc:docMk/>
            <pc:sldMk cId="2971532955" sldId="366"/>
            <ac:spMk id="61" creationId="{785E5ACF-C192-4972-9059-CB9DD5491681}"/>
          </ac:spMkLst>
        </pc:spChg>
        <pc:spChg chg="add del mod topLvl">
          <ac:chgData name="Toby Lewis" userId="066a3a73-b684-4af0-a6ca-f0fee0166471" providerId="ADAL" clId="{F5F3857A-6011-984D-BCFB-F6CEB17D7916}" dt="2023-09-03T19:40:45.863" v="1776" actId="478"/>
          <ac:spMkLst>
            <pc:docMk/>
            <pc:sldMk cId="2971532955" sldId="366"/>
            <ac:spMk id="62" creationId="{69C94107-6595-498C-AB93-A6B5D45331E9}"/>
          </ac:spMkLst>
        </pc:spChg>
        <pc:spChg chg="del">
          <ac:chgData name="Toby Lewis" userId="066a3a73-b684-4af0-a6ca-f0fee0166471" providerId="ADAL" clId="{F5F3857A-6011-984D-BCFB-F6CEB17D7916}" dt="2023-09-03T19:41:40.548" v="1804" actId="478"/>
          <ac:spMkLst>
            <pc:docMk/>
            <pc:sldMk cId="2971532955" sldId="366"/>
            <ac:spMk id="66" creationId="{1E5E0651-9EA6-4BBF-91AF-A511A0DCA9AB}"/>
          </ac:spMkLst>
        </pc:spChg>
        <pc:spChg chg="del">
          <ac:chgData name="Toby Lewis" userId="066a3a73-b684-4af0-a6ca-f0fee0166471" providerId="ADAL" clId="{F5F3857A-6011-984D-BCFB-F6CEB17D7916}" dt="2023-09-03T19:41:42.534" v="1805" actId="478"/>
          <ac:spMkLst>
            <pc:docMk/>
            <pc:sldMk cId="2971532955" sldId="366"/>
            <ac:spMk id="67" creationId="{4A94FFAA-6EC5-4B9E-91D8-9D1D1D27DBFF}"/>
          </ac:spMkLst>
        </pc:spChg>
        <pc:spChg chg="del">
          <ac:chgData name="Toby Lewis" userId="066a3a73-b684-4af0-a6ca-f0fee0166471" providerId="ADAL" clId="{F5F3857A-6011-984D-BCFB-F6CEB17D7916}" dt="2023-09-03T19:41:44.354" v="1806" actId="478"/>
          <ac:spMkLst>
            <pc:docMk/>
            <pc:sldMk cId="2971532955" sldId="366"/>
            <ac:spMk id="68" creationId="{0411457E-BA18-4072-83FF-ABEDDA82FC1A}"/>
          </ac:spMkLst>
        </pc:spChg>
        <pc:spChg chg="del">
          <ac:chgData name="Toby Lewis" userId="066a3a73-b684-4af0-a6ca-f0fee0166471" providerId="ADAL" clId="{F5F3857A-6011-984D-BCFB-F6CEB17D7916}" dt="2023-09-03T19:41:47.870" v="1807" actId="478"/>
          <ac:spMkLst>
            <pc:docMk/>
            <pc:sldMk cId="2971532955" sldId="366"/>
            <ac:spMk id="69" creationId="{7EE9320B-9CC5-4C45-988B-DF1A7036C27D}"/>
          </ac:spMkLst>
        </pc:spChg>
        <pc:spChg chg="mod">
          <ac:chgData name="Toby Lewis" userId="066a3a73-b684-4af0-a6ca-f0fee0166471" providerId="ADAL" clId="{F5F3857A-6011-984D-BCFB-F6CEB17D7916}" dt="2023-09-03T19:54:35.043" v="2122" actId="20577"/>
          <ac:spMkLst>
            <pc:docMk/>
            <pc:sldMk cId="2971532955" sldId="366"/>
            <ac:spMk id="70" creationId="{7ECBEA59-B50B-B5CA-D7A3-AA399DCFE63F}"/>
          </ac:spMkLst>
        </pc:spChg>
        <pc:spChg chg="mod">
          <ac:chgData name="Toby Lewis" userId="066a3a73-b684-4af0-a6ca-f0fee0166471" providerId="ADAL" clId="{F5F3857A-6011-984D-BCFB-F6CEB17D7916}" dt="2023-09-03T19:54:22.332" v="2108"/>
          <ac:spMkLst>
            <pc:docMk/>
            <pc:sldMk cId="2971532955" sldId="366"/>
            <ac:spMk id="71" creationId="{15AE6500-62FA-C3A3-3C6A-CD75484E0E3D}"/>
          </ac:spMkLst>
        </pc:spChg>
        <pc:spChg chg="add mod">
          <ac:chgData name="Toby Lewis" userId="066a3a73-b684-4af0-a6ca-f0fee0166471" providerId="ADAL" clId="{F5F3857A-6011-984D-BCFB-F6CEB17D7916}" dt="2023-09-03T19:55:09.693" v="2132" actId="1076"/>
          <ac:spMkLst>
            <pc:docMk/>
            <pc:sldMk cId="2971532955" sldId="366"/>
            <ac:spMk id="72" creationId="{85A0FA00-FA4E-7773-7BA1-9B9A08DD81E5}"/>
          </ac:spMkLst>
        </pc:spChg>
        <pc:grpChg chg="mod">
          <ac:chgData name="Toby Lewis" userId="066a3a73-b684-4af0-a6ca-f0fee0166471" providerId="ADAL" clId="{F5F3857A-6011-984D-BCFB-F6CEB17D7916}" dt="2023-09-03T19:54:17.963" v="2107" actId="1076"/>
          <ac:grpSpMkLst>
            <pc:docMk/>
            <pc:sldMk cId="2971532955" sldId="366"/>
            <ac:grpSpMk id="5" creationId="{09EAAC01-D796-4E0F-BC06-325364C230C8}"/>
          </ac:grpSpMkLst>
        </pc:grpChg>
        <pc:grpChg chg="add mod">
          <ac:chgData name="Toby Lewis" userId="066a3a73-b684-4af0-a6ca-f0fee0166471" providerId="ADAL" clId="{F5F3857A-6011-984D-BCFB-F6CEB17D7916}" dt="2023-09-03T19:50:05.881" v="1951" actId="14100"/>
          <ac:grpSpMkLst>
            <pc:docMk/>
            <pc:sldMk cId="2971532955" sldId="366"/>
            <ac:grpSpMk id="15" creationId="{0A28BCB1-2EAC-CE14-B325-AD3315305536}"/>
          </ac:grpSpMkLst>
        </pc:grpChg>
        <pc:grpChg chg="add del mod">
          <ac:chgData name="Toby Lewis" userId="066a3a73-b684-4af0-a6ca-f0fee0166471" providerId="ADAL" clId="{F5F3857A-6011-984D-BCFB-F6CEB17D7916}" dt="2023-09-03T19:41:00.308" v="1780"/>
          <ac:grpSpMkLst>
            <pc:docMk/>
            <pc:sldMk cId="2971532955" sldId="366"/>
            <ac:grpSpMk id="18" creationId="{4933C4F0-7E19-A75F-6CDE-904879143B59}"/>
          </ac:grpSpMkLst>
        </pc:grpChg>
        <pc:grpChg chg="add mod">
          <ac:chgData name="Toby Lewis" userId="066a3a73-b684-4af0-a6ca-f0fee0166471" providerId="ADAL" clId="{F5F3857A-6011-984D-BCFB-F6CEB17D7916}" dt="2023-09-03T19:47:55.870" v="1872" actId="14100"/>
          <ac:grpSpMkLst>
            <pc:docMk/>
            <pc:sldMk cId="2971532955" sldId="366"/>
            <ac:grpSpMk id="28" creationId="{36187B17-337C-3F5D-1194-3EDCE9093AA4}"/>
          </ac:grpSpMkLst>
        </pc:grpChg>
        <pc:grpChg chg="add mod">
          <ac:chgData name="Toby Lewis" userId="066a3a73-b684-4af0-a6ca-f0fee0166471" providerId="ADAL" clId="{F5F3857A-6011-984D-BCFB-F6CEB17D7916}" dt="2023-09-03T19:54:10.579" v="2105" actId="14100"/>
          <ac:grpSpMkLst>
            <pc:docMk/>
            <pc:sldMk cId="2971532955" sldId="366"/>
            <ac:grpSpMk id="34" creationId="{BBEA7C31-0C63-7B92-A261-252F711056A7}"/>
          </ac:grpSpMkLst>
        </pc:grpChg>
        <pc:grpChg chg="mod">
          <ac:chgData name="Toby Lewis" userId="066a3a73-b684-4af0-a6ca-f0fee0166471" providerId="ADAL" clId="{F5F3857A-6011-984D-BCFB-F6CEB17D7916}" dt="2023-09-03T19:42:38.498" v="1812" actId="1076"/>
          <ac:grpSpMkLst>
            <pc:docMk/>
            <pc:sldMk cId="2971532955" sldId="366"/>
            <ac:grpSpMk id="48" creationId="{976B40EC-E0CD-449F-B6F4-88853780DC60}"/>
          </ac:grpSpMkLst>
        </pc:grpChg>
        <pc:grpChg chg="mod">
          <ac:chgData name="Toby Lewis" userId="066a3a73-b684-4af0-a6ca-f0fee0166471" providerId="ADAL" clId="{F5F3857A-6011-984D-BCFB-F6CEB17D7916}" dt="2023-09-03T19:56:30.514" v="2143" actId="14100"/>
          <ac:grpSpMkLst>
            <pc:docMk/>
            <pc:sldMk cId="2971532955" sldId="366"/>
            <ac:grpSpMk id="51" creationId="{E021C6D6-DD0F-4619-87F3-D094CC30A12F}"/>
          </ac:grpSpMkLst>
        </pc:grpChg>
        <pc:grpChg chg="mod">
          <ac:chgData name="Toby Lewis" userId="066a3a73-b684-4af0-a6ca-f0fee0166471" providerId="ADAL" clId="{F5F3857A-6011-984D-BCFB-F6CEB17D7916}" dt="2023-09-03T19:42:35.478" v="1811" actId="14100"/>
          <ac:grpSpMkLst>
            <pc:docMk/>
            <pc:sldMk cId="2971532955" sldId="366"/>
            <ac:grpSpMk id="54" creationId="{E2A71B24-FB70-47B2-9458-4D8E68E52D72}"/>
          </ac:grpSpMkLst>
        </pc:grpChg>
        <pc:grpChg chg="mod">
          <ac:chgData name="Toby Lewis" userId="066a3a73-b684-4af0-a6ca-f0fee0166471" providerId="ADAL" clId="{F5F3857A-6011-984D-BCFB-F6CEB17D7916}" dt="2023-09-03T19:55:13.133" v="2135" actId="14100"/>
          <ac:grpSpMkLst>
            <pc:docMk/>
            <pc:sldMk cId="2971532955" sldId="366"/>
            <ac:grpSpMk id="57" creationId="{F198CAAC-AAF7-4CB0-A628-F512FF170621}"/>
          </ac:grpSpMkLst>
        </pc:grpChg>
        <pc:grpChg chg="add del mod">
          <ac:chgData name="Toby Lewis" userId="066a3a73-b684-4af0-a6ca-f0fee0166471" providerId="ADAL" clId="{F5F3857A-6011-984D-BCFB-F6CEB17D7916}" dt="2023-09-03T19:40:44.193" v="1775" actId="478"/>
          <ac:grpSpMkLst>
            <pc:docMk/>
            <pc:sldMk cId="2971532955" sldId="366"/>
            <ac:grpSpMk id="60" creationId="{E89DC942-C0A5-4954-B2BE-3E1EE4D082EA}"/>
          </ac:grpSpMkLst>
        </pc:grpChg>
        <pc:grpChg chg="add mod">
          <ac:chgData name="Toby Lewis" userId="066a3a73-b684-4af0-a6ca-f0fee0166471" providerId="ADAL" clId="{F5F3857A-6011-984D-BCFB-F6CEB17D7916}" dt="2023-09-03T19:55:05.731" v="2131" actId="1076"/>
          <ac:grpSpMkLst>
            <pc:docMk/>
            <pc:sldMk cId="2971532955" sldId="366"/>
            <ac:grpSpMk id="65" creationId="{400B43BF-FDF8-4FB6-F8A4-2239C2DE40E0}"/>
          </ac:grpSpMkLst>
        </pc:grpChg>
        <pc:picChg chg="add mod">
          <ac:chgData name="Toby Lewis" userId="066a3a73-b684-4af0-a6ca-f0fee0166471" providerId="ADAL" clId="{F5F3857A-6011-984D-BCFB-F6CEB17D7916}" dt="2023-09-03T19:42:45.265" v="1814" actId="1076"/>
          <ac:picMkLst>
            <pc:docMk/>
            <pc:sldMk cId="2971532955" sldId="366"/>
            <ac:picMk id="25" creationId="{05571C99-6F00-BFE8-A621-D8F11996801C}"/>
          </ac:picMkLst>
        </pc:picChg>
        <pc:picChg chg="add mod">
          <ac:chgData name="Toby Lewis" userId="066a3a73-b684-4af0-a6ca-f0fee0166471" providerId="ADAL" clId="{F5F3857A-6011-984D-BCFB-F6CEB17D7916}" dt="2023-09-03T19:42:57.681" v="1817" actId="1076"/>
          <ac:picMkLst>
            <pc:docMk/>
            <pc:sldMk cId="2971532955" sldId="366"/>
            <ac:picMk id="26" creationId="{45EBA4AB-EDC3-0D99-9116-36FCDCC0FE05}"/>
          </ac:picMkLst>
        </pc:picChg>
        <pc:picChg chg="add mod">
          <ac:chgData name="Toby Lewis" userId="066a3a73-b684-4af0-a6ca-f0fee0166471" providerId="ADAL" clId="{F5F3857A-6011-984D-BCFB-F6CEB17D7916}" dt="2023-09-03T19:47:51.682" v="1871" actId="1076"/>
          <ac:picMkLst>
            <pc:docMk/>
            <pc:sldMk cId="2971532955" sldId="366"/>
            <ac:picMk id="31" creationId="{E7675744-6705-4CAA-6D39-CEB6B3D98238}"/>
          </ac:picMkLst>
        </pc:picChg>
        <pc:picChg chg="add mod">
          <ac:chgData name="Toby Lewis" userId="066a3a73-b684-4af0-a6ca-f0fee0166471" providerId="ADAL" clId="{F5F3857A-6011-984D-BCFB-F6CEB17D7916}" dt="2023-09-03T19:54:04.260" v="2103" actId="1076"/>
          <ac:picMkLst>
            <pc:docMk/>
            <pc:sldMk cId="2971532955" sldId="366"/>
            <ac:picMk id="38" creationId="{CB053CEF-7625-682F-BA9B-ACB704608362}"/>
          </ac:picMkLst>
        </pc:picChg>
        <pc:picChg chg="add mod">
          <ac:chgData name="Toby Lewis" userId="066a3a73-b684-4af0-a6ca-f0fee0166471" providerId="ADAL" clId="{F5F3857A-6011-984D-BCFB-F6CEB17D7916}" dt="2023-09-03T19:50:56.128" v="1956" actId="1076"/>
          <ac:picMkLst>
            <pc:docMk/>
            <pc:sldMk cId="2971532955" sldId="366"/>
            <ac:picMk id="46" creationId="{A5DEC048-43BA-D090-CF1A-A5EC592ADBA1}"/>
          </ac:picMkLst>
        </pc:picChg>
        <pc:picChg chg="add mod">
          <ac:chgData name="Toby Lewis" userId="066a3a73-b684-4af0-a6ca-f0fee0166471" providerId="ADAL" clId="{F5F3857A-6011-984D-BCFB-F6CEB17D7916}" dt="2023-09-03T19:54:12.196" v="2106" actId="1076"/>
          <ac:picMkLst>
            <pc:docMk/>
            <pc:sldMk cId="2971532955" sldId="366"/>
            <ac:picMk id="64" creationId="{E8D476F2-306B-235A-D3D9-E082572A4773}"/>
          </ac:picMkLst>
        </pc:picChg>
      </pc:sldChg>
      <pc:sldChg chg="addSp delSp modSp add mod">
        <pc:chgData name="Toby Lewis" userId="066a3a73-b684-4af0-a6ca-f0fee0166471" providerId="ADAL" clId="{F5F3857A-6011-984D-BCFB-F6CEB17D7916}" dt="2023-09-03T21:00:52.025" v="2576" actId="313"/>
        <pc:sldMkLst>
          <pc:docMk/>
          <pc:sldMk cId="2215153916" sldId="367"/>
        </pc:sldMkLst>
        <pc:spChg chg="add mod">
          <ac:chgData name="Toby Lewis" userId="066a3a73-b684-4af0-a6ca-f0fee0166471" providerId="ADAL" clId="{F5F3857A-6011-984D-BCFB-F6CEB17D7916}" dt="2023-09-03T21:00:07.612" v="2491" actId="1076"/>
          <ac:spMkLst>
            <pc:docMk/>
            <pc:sldMk cId="2215153916" sldId="367"/>
            <ac:spMk id="3" creationId="{5F8B59E8-CBF8-DF41-BFE2-408CDD7B971E}"/>
          </ac:spMkLst>
        </pc:spChg>
        <pc:spChg chg="mod">
          <ac:chgData name="Toby Lewis" userId="066a3a73-b684-4af0-a6ca-f0fee0166471" providerId="ADAL" clId="{F5F3857A-6011-984D-BCFB-F6CEB17D7916}" dt="2023-09-03T20:59:10.843" v="2457" actId="692"/>
          <ac:spMkLst>
            <pc:docMk/>
            <pc:sldMk cId="2215153916" sldId="367"/>
            <ac:spMk id="8" creationId="{F61288BA-174A-4846-4589-4289D228D5A7}"/>
          </ac:spMkLst>
        </pc:spChg>
        <pc:spChg chg="add del mod">
          <ac:chgData name="Toby Lewis" userId="066a3a73-b684-4af0-a6ca-f0fee0166471" providerId="ADAL" clId="{F5F3857A-6011-984D-BCFB-F6CEB17D7916}" dt="2023-09-03T20:59:58.846" v="2474" actId="478"/>
          <ac:spMkLst>
            <pc:docMk/>
            <pc:sldMk cId="2215153916" sldId="367"/>
            <ac:spMk id="14" creationId="{1BC6C085-ED5F-AECB-5212-270DF9F39705}"/>
          </ac:spMkLst>
        </pc:spChg>
        <pc:spChg chg="add mod">
          <ac:chgData name="Toby Lewis" userId="066a3a73-b684-4af0-a6ca-f0fee0166471" providerId="ADAL" clId="{F5F3857A-6011-984D-BCFB-F6CEB17D7916}" dt="2023-09-03T21:00:16.343" v="2509" actId="20577"/>
          <ac:spMkLst>
            <pc:docMk/>
            <pc:sldMk cId="2215153916" sldId="367"/>
            <ac:spMk id="16" creationId="{6CFBF5F6-2CC0-CD35-E95F-FE5430348416}"/>
          </ac:spMkLst>
        </pc:spChg>
        <pc:spChg chg="add mod">
          <ac:chgData name="Toby Lewis" userId="066a3a73-b684-4af0-a6ca-f0fee0166471" providerId="ADAL" clId="{F5F3857A-6011-984D-BCFB-F6CEB17D7916}" dt="2023-09-03T21:00:37.095" v="2540" actId="1076"/>
          <ac:spMkLst>
            <pc:docMk/>
            <pc:sldMk cId="2215153916" sldId="367"/>
            <ac:spMk id="17" creationId="{C4C99BA0-9218-C55A-6FBF-C71F1A51E2E5}"/>
          </ac:spMkLst>
        </pc:spChg>
        <pc:spChg chg="add mod">
          <ac:chgData name="Toby Lewis" userId="066a3a73-b684-4af0-a6ca-f0fee0166471" providerId="ADAL" clId="{F5F3857A-6011-984D-BCFB-F6CEB17D7916}" dt="2023-09-03T21:00:52.025" v="2576" actId="313"/>
          <ac:spMkLst>
            <pc:docMk/>
            <pc:sldMk cId="2215153916" sldId="367"/>
            <ac:spMk id="18" creationId="{DC57449B-3D12-BD17-A83E-A383271AA95E}"/>
          </ac:spMkLst>
        </pc:spChg>
        <pc:picChg chg="mod">
          <ac:chgData name="Toby Lewis" userId="066a3a73-b684-4af0-a6ca-f0fee0166471" providerId="ADAL" clId="{F5F3857A-6011-984D-BCFB-F6CEB17D7916}" dt="2023-09-03T20:58:49.404" v="2437"/>
          <ac:picMkLst>
            <pc:docMk/>
            <pc:sldMk cId="2215153916" sldId="367"/>
            <ac:picMk id="9" creationId="{FDD04A44-6C55-D8AB-6A07-C06EDF16445B}"/>
          </ac:picMkLst>
        </pc:picChg>
        <pc:picChg chg="mod">
          <ac:chgData name="Toby Lewis" userId="066a3a73-b684-4af0-a6ca-f0fee0166471" providerId="ADAL" clId="{F5F3857A-6011-984D-BCFB-F6CEB17D7916}" dt="2023-09-03T20:58:38.072" v="2434"/>
          <ac:picMkLst>
            <pc:docMk/>
            <pc:sldMk cId="2215153916" sldId="367"/>
            <ac:picMk id="10" creationId="{F08FB150-597F-86DB-8698-78F61D151666}"/>
          </ac:picMkLst>
        </pc:picChg>
        <pc:picChg chg="mod">
          <ac:chgData name="Toby Lewis" userId="066a3a73-b684-4af0-a6ca-f0fee0166471" providerId="ADAL" clId="{F5F3857A-6011-984D-BCFB-F6CEB17D7916}" dt="2023-09-03T20:58:45.314" v="2436"/>
          <ac:picMkLst>
            <pc:docMk/>
            <pc:sldMk cId="2215153916" sldId="367"/>
            <ac:picMk id="11" creationId="{3EC2B068-A8CF-F506-AC36-4821BF3BF51F}"/>
          </ac:picMkLst>
        </pc:picChg>
        <pc:picChg chg="mod">
          <ac:chgData name="Toby Lewis" userId="066a3a73-b684-4af0-a6ca-f0fee0166471" providerId="ADAL" clId="{F5F3857A-6011-984D-BCFB-F6CEB17D7916}" dt="2023-09-03T20:58:42.019" v="2435"/>
          <ac:picMkLst>
            <pc:docMk/>
            <pc:sldMk cId="2215153916" sldId="367"/>
            <ac:picMk id="12" creationId="{A36DE8CF-6E50-4449-207E-E3C8929C7430}"/>
          </ac:picMkLst>
        </pc:picChg>
        <pc:picChg chg="mod">
          <ac:chgData name="Toby Lewis" userId="066a3a73-b684-4af0-a6ca-f0fee0166471" providerId="ADAL" clId="{F5F3857A-6011-984D-BCFB-F6CEB17D7916}" dt="2023-09-03T20:58:52.328" v="2438" actId="29295"/>
          <ac:picMkLst>
            <pc:docMk/>
            <pc:sldMk cId="2215153916" sldId="367"/>
            <ac:picMk id="13" creationId="{25422154-19E5-36C0-D7F6-EE5BD3238B79}"/>
          </ac:picMkLst>
        </pc:picChg>
        <pc:picChg chg="mod">
          <ac:chgData name="Toby Lewis" userId="066a3a73-b684-4af0-a6ca-f0fee0166471" providerId="ADAL" clId="{F5F3857A-6011-984D-BCFB-F6CEB17D7916}" dt="2023-09-03T20:58:19.279" v="2431" actId="29295"/>
          <ac:picMkLst>
            <pc:docMk/>
            <pc:sldMk cId="2215153916" sldId="367"/>
            <ac:picMk id="26" creationId="{6B58A275-8E4D-3DF4-933C-611801B66512}"/>
          </ac:picMkLst>
        </pc:picChg>
        <pc:picChg chg="mod">
          <ac:chgData name="Toby Lewis" userId="066a3a73-b684-4af0-a6ca-f0fee0166471" providerId="ADAL" clId="{F5F3857A-6011-984D-BCFB-F6CEB17D7916}" dt="2023-09-03T20:58:22.359" v="2432" actId="29295"/>
          <ac:picMkLst>
            <pc:docMk/>
            <pc:sldMk cId="2215153916" sldId="367"/>
            <ac:picMk id="28" creationId="{8B3092A4-489D-49FC-0D99-A42E4FF3E35B}"/>
          </ac:picMkLst>
        </pc:picChg>
        <pc:picChg chg="mod">
          <ac:chgData name="Toby Lewis" userId="066a3a73-b684-4af0-a6ca-f0fee0166471" providerId="ADAL" clId="{F5F3857A-6011-984D-BCFB-F6CEB17D7916}" dt="2023-09-03T20:58:25.982" v="2433" actId="29295"/>
          <ac:picMkLst>
            <pc:docMk/>
            <pc:sldMk cId="2215153916" sldId="367"/>
            <ac:picMk id="30" creationId="{F8CAD8B6-0741-5FFB-A2B1-3131547E2146}"/>
          </ac:picMkLst>
        </pc:picChg>
        <pc:picChg chg="mod">
          <ac:chgData name="Toby Lewis" userId="066a3a73-b684-4af0-a6ca-f0fee0166471" providerId="ADAL" clId="{F5F3857A-6011-984D-BCFB-F6CEB17D7916}" dt="2023-09-03T20:59:28.063" v="2462" actId="29295"/>
          <ac:picMkLst>
            <pc:docMk/>
            <pc:sldMk cId="2215153916" sldId="367"/>
            <ac:picMk id="32" creationId="{16F717EE-4343-9956-939C-BA28F381EC31}"/>
          </ac:picMkLst>
        </pc:picChg>
        <pc:picChg chg="mod">
          <ac:chgData name="Toby Lewis" userId="066a3a73-b684-4af0-a6ca-f0fee0166471" providerId="ADAL" clId="{F5F3857A-6011-984D-BCFB-F6CEB17D7916}" dt="2023-09-03T20:59:16.246" v="2458" actId="29295"/>
          <ac:picMkLst>
            <pc:docMk/>
            <pc:sldMk cId="2215153916" sldId="367"/>
            <ac:picMk id="34" creationId="{ABB01963-3667-5896-997A-F70AECE9420D}"/>
          </ac:picMkLst>
        </pc:picChg>
        <pc:picChg chg="mod">
          <ac:chgData name="Toby Lewis" userId="066a3a73-b684-4af0-a6ca-f0fee0166471" providerId="ADAL" clId="{F5F3857A-6011-984D-BCFB-F6CEB17D7916}" dt="2023-09-03T20:59:19.095" v="2459" actId="29295"/>
          <ac:picMkLst>
            <pc:docMk/>
            <pc:sldMk cId="2215153916" sldId="367"/>
            <ac:picMk id="36" creationId="{061CCF5B-D8FE-0C27-2EAD-B1DD54310A73}"/>
          </ac:picMkLst>
        </pc:picChg>
        <pc:picChg chg="mod">
          <ac:chgData name="Toby Lewis" userId="066a3a73-b684-4af0-a6ca-f0fee0166471" providerId="ADAL" clId="{F5F3857A-6011-984D-BCFB-F6CEB17D7916}" dt="2023-09-03T20:59:21.682" v="2460" actId="29295"/>
          <ac:picMkLst>
            <pc:docMk/>
            <pc:sldMk cId="2215153916" sldId="367"/>
            <ac:picMk id="41" creationId="{3C7FDDB4-BBB8-08B2-10E1-730DDE4B0BF7}"/>
          </ac:picMkLst>
        </pc:picChg>
        <pc:picChg chg="mod">
          <ac:chgData name="Toby Lewis" userId="066a3a73-b684-4af0-a6ca-f0fee0166471" providerId="ADAL" clId="{F5F3857A-6011-984D-BCFB-F6CEB17D7916}" dt="2023-09-03T20:58:03.644" v="2430" actId="29295"/>
          <ac:picMkLst>
            <pc:docMk/>
            <pc:sldMk cId="2215153916" sldId="367"/>
            <ac:picMk id="43" creationId="{2990B0AE-98CB-6CDB-7164-99AD3DD8DE5F}"/>
          </ac:picMkLst>
        </pc:picChg>
        <pc:picChg chg="mod">
          <ac:chgData name="Toby Lewis" userId="066a3a73-b684-4af0-a6ca-f0fee0166471" providerId="ADAL" clId="{F5F3857A-6011-984D-BCFB-F6CEB17D7916}" dt="2023-09-03T20:59:25.207" v="2461" actId="29295"/>
          <ac:picMkLst>
            <pc:docMk/>
            <pc:sldMk cId="2215153916" sldId="367"/>
            <ac:picMk id="45" creationId="{EED691F6-4E04-7E40-E435-2217BCA90C9C}"/>
          </ac:picMkLst>
        </pc:picChg>
      </pc:sldChg>
      <pc:sldChg chg="addSp modSp add mod ord modNotesTx">
        <pc:chgData name="Toby Lewis" userId="066a3a73-b684-4af0-a6ca-f0fee0166471" providerId="ADAL" clId="{F5F3857A-6011-984D-BCFB-F6CEB17D7916}" dt="2023-09-03T21:04:58.765" v="2745" actId="20577"/>
        <pc:sldMkLst>
          <pc:docMk/>
          <pc:sldMk cId="1926458988" sldId="368"/>
        </pc:sldMkLst>
        <pc:spChg chg="add mod">
          <ac:chgData name="Toby Lewis" userId="066a3a73-b684-4af0-a6ca-f0fee0166471" providerId="ADAL" clId="{F5F3857A-6011-984D-BCFB-F6CEB17D7916}" dt="2023-09-03T21:04:16.612" v="2613" actId="14100"/>
          <ac:spMkLst>
            <pc:docMk/>
            <pc:sldMk cId="1926458988" sldId="368"/>
            <ac:spMk id="14" creationId="{B4C8B580-970E-7B6A-2AB6-E64B9F84133F}"/>
          </ac:spMkLst>
        </pc:spChg>
      </pc:sldChg>
      <pc:sldChg chg="addSp delSp modSp add mod">
        <pc:chgData name="Toby Lewis" userId="066a3a73-b684-4af0-a6ca-f0fee0166471" providerId="ADAL" clId="{F5F3857A-6011-984D-BCFB-F6CEB17D7916}" dt="2023-09-03T21:37:31.797" v="3579" actId="20577"/>
        <pc:sldMkLst>
          <pc:docMk/>
          <pc:sldMk cId="4092215745" sldId="369"/>
        </pc:sldMkLst>
        <pc:spChg chg="del">
          <ac:chgData name="Toby Lewis" userId="066a3a73-b684-4af0-a6ca-f0fee0166471" providerId="ADAL" clId="{F5F3857A-6011-984D-BCFB-F6CEB17D7916}" dt="2023-09-03T21:06:15.438" v="2749" actId="478"/>
          <ac:spMkLst>
            <pc:docMk/>
            <pc:sldMk cId="4092215745" sldId="369"/>
            <ac:spMk id="3" creationId="{FC1168EB-DD90-4A06-9DB9-4FC9BE4EBBF3}"/>
          </ac:spMkLst>
        </pc:spChg>
        <pc:spChg chg="add del mod">
          <ac:chgData name="Toby Lewis" userId="066a3a73-b684-4af0-a6ca-f0fee0166471" providerId="ADAL" clId="{F5F3857A-6011-984D-BCFB-F6CEB17D7916}" dt="2023-09-03T21:06:18.209" v="2752" actId="478"/>
          <ac:spMkLst>
            <pc:docMk/>
            <pc:sldMk cId="4092215745" sldId="369"/>
            <ac:spMk id="8" creationId="{39514F95-D974-658F-73A8-E08EF428E1C8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9" creationId="{05EAAA45-73DF-4638-498F-318BD9CA7ABA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10" creationId="{A2DFEE60-9162-DD23-D850-01B168ABF1B9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11" creationId="{DE7ED341-651B-0A17-61EC-A56D9CB042F8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12" creationId="{ADB62498-8CF0-34EB-92F4-8C475056F879}"/>
          </ac:spMkLst>
        </pc:spChg>
        <pc:spChg chg="add mod">
          <ac:chgData name="Toby Lewis" userId="066a3a73-b684-4af0-a6ca-f0fee0166471" providerId="ADAL" clId="{F5F3857A-6011-984D-BCFB-F6CEB17D7916}" dt="2023-09-03T21:35:07.763" v="3502" actId="20577"/>
          <ac:spMkLst>
            <pc:docMk/>
            <pc:sldMk cId="4092215745" sldId="369"/>
            <ac:spMk id="15" creationId="{6BFDD419-9D08-3957-77C4-8DFC0766122B}"/>
          </ac:spMkLst>
        </pc:spChg>
        <pc:spChg chg="add mod">
          <ac:chgData name="Toby Lewis" userId="066a3a73-b684-4af0-a6ca-f0fee0166471" providerId="ADAL" clId="{F5F3857A-6011-984D-BCFB-F6CEB17D7916}" dt="2023-09-03T21:37:28.321" v="3566" actId="20577"/>
          <ac:spMkLst>
            <pc:docMk/>
            <pc:sldMk cId="4092215745" sldId="369"/>
            <ac:spMk id="16" creationId="{7953E490-0CAC-140A-3501-D42519B16D75}"/>
          </ac:spMkLst>
        </pc:spChg>
        <pc:spChg chg="add mod">
          <ac:chgData name="Toby Lewis" userId="066a3a73-b684-4af0-a6ca-f0fee0166471" providerId="ADAL" clId="{F5F3857A-6011-984D-BCFB-F6CEB17D7916}" dt="2023-09-03T21:06:27.163" v="2773" actId="20577"/>
          <ac:spMkLst>
            <pc:docMk/>
            <pc:sldMk cId="4092215745" sldId="369"/>
            <ac:spMk id="17" creationId="{35D90C5B-6DFA-4AFC-2A5F-CB26969D50E3}"/>
          </ac:spMkLst>
        </pc:spChg>
        <pc:spChg chg="add mod">
          <ac:chgData name="Toby Lewis" userId="066a3a73-b684-4af0-a6ca-f0fee0166471" providerId="ADAL" clId="{F5F3857A-6011-984D-BCFB-F6CEB17D7916}" dt="2023-09-03T21:37:31.797" v="3579" actId="20577"/>
          <ac:spMkLst>
            <pc:docMk/>
            <pc:sldMk cId="4092215745" sldId="369"/>
            <ac:spMk id="18" creationId="{4B81D737-FC82-F7A3-5E6F-FB66D3D92193}"/>
          </ac:spMkLst>
        </pc:spChg>
        <pc:picChg chg="add del mod">
          <ac:chgData name="Toby Lewis" userId="066a3a73-b684-4af0-a6ca-f0fee0166471" providerId="ADAL" clId="{F5F3857A-6011-984D-BCFB-F6CEB17D7916}" dt="2023-09-03T21:34:24.997" v="3486" actId="478"/>
          <ac:picMkLst>
            <pc:docMk/>
            <pc:sldMk cId="4092215745" sldId="369"/>
            <ac:picMk id="24" creationId="{1A4DDC8A-473E-086E-DC93-95CBBD8B9164}"/>
          </ac:picMkLst>
        </pc:picChg>
        <pc:picChg chg="add mod">
          <ac:chgData name="Toby Lewis" userId="066a3a73-b684-4af0-a6ca-f0fee0166471" providerId="ADAL" clId="{F5F3857A-6011-984D-BCFB-F6CEB17D7916}" dt="2023-09-03T21:34:33.925" v="3489" actId="1076"/>
          <ac:picMkLst>
            <pc:docMk/>
            <pc:sldMk cId="4092215745" sldId="369"/>
            <ac:picMk id="26" creationId="{7606B741-758E-649C-6479-53E3B189F7DB}"/>
          </ac:picMkLst>
        </pc:picChg>
        <pc:cxnChg chg="add del mod">
          <ac:chgData name="Toby Lewis" userId="066a3a73-b684-4af0-a6ca-f0fee0166471" providerId="ADAL" clId="{F5F3857A-6011-984D-BCFB-F6CEB17D7916}" dt="2023-09-03T21:06:16.959" v="2751"/>
          <ac:cxnSpMkLst>
            <pc:docMk/>
            <pc:sldMk cId="4092215745" sldId="369"/>
            <ac:cxnSpMk id="13" creationId="{5A114988-795F-8CAC-61E0-B6F8FDB2D495}"/>
          </ac:cxnSpMkLst>
        </pc:cxnChg>
        <pc:cxnChg chg="add del mod">
          <ac:chgData name="Toby Lewis" userId="066a3a73-b684-4af0-a6ca-f0fee0166471" providerId="ADAL" clId="{F5F3857A-6011-984D-BCFB-F6CEB17D7916}" dt="2023-09-03T21:06:16.959" v="2751"/>
          <ac:cxnSpMkLst>
            <pc:docMk/>
            <pc:sldMk cId="4092215745" sldId="369"/>
            <ac:cxnSpMk id="14" creationId="{2BE26001-747C-51A8-7BF1-BE001B70E3E3}"/>
          </ac:cxnSpMkLst>
        </pc:cxnChg>
        <pc:cxnChg chg="add mod">
          <ac:chgData name="Toby Lewis" userId="066a3a73-b684-4af0-a6ca-f0fee0166471" providerId="ADAL" clId="{F5F3857A-6011-984D-BCFB-F6CEB17D7916}" dt="2023-09-03T21:35:06.123" v="3499" actId="14100"/>
          <ac:cxnSpMkLst>
            <pc:docMk/>
            <pc:sldMk cId="4092215745" sldId="369"/>
            <ac:cxnSpMk id="19" creationId="{5DA9925D-B6AF-6580-33CE-FB78201F1CB9}"/>
          </ac:cxnSpMkLst>
        </pc:cxnChg>
        <pc:cxnChg chg="add mod">
          <ac:chgData name="Toby Lewis" userId="066a3a73-b684-4af0-a6ca-f0fee0166471" providerId="ADAL" clId="{F5F3857A-6011-984D-BCFB-F6CEB17D7916}" dt="2023-09-03T21:34:50.641" v="3493" actId="14100"/>
          <ac:cxnSpMkLst>
            <pc:docMk/>
            <pc:sldMk cId="4092215745" sldId="369"/>
            <ac:cxnSpMk id="20" creationId="{6B0B045C-B664-22A7-F966-D94D742C40EB}"/>
          </ac:cxnSpMkLst>
        </pc:cxnChg>
      </pc:sldChg>
      <pc:sldChg chg="addSp delSp modSp add mod ord">
        <pc:chgData name="Toby Lewis" userId="066a3a73-b684-4af0-a6ca-f0fee0166471" providerId="ADAL" clId="{F5F3857A-6011-984D-BCFB-F6CEB17D7916}" dt="2023-09-03T21:56:53.938" v="3852"/>
        <pc:sldMkLst>
          <pc:docMk/>
          <pc:sldMk cId="1955734165" sldId="370"/>
        </pc:sldMkLst>
        <pc:spChg chg="mod">
          <ac:chgData name="Toby Lewis" userId="066a3a73-b684-4af0-a6ca-f0fee0166471" providerId="ADAL" clId="{F5F3857A-6011-984D-BCFB-F6CEB17D7916}" dt="2023-09-03T21:49:45.700" v="3793" actId="20577"/>
          <ac:spMkLst>
            <pc:docMk/>
            <pc:sldMk cId="1955734165" sldId="370"/>
            <ac:spMk id="6" creationId="{039496C1-60A5-4D03-9C78-04283CB74603}"/>
          </ac:spMkLst>
        </pc:spChg>
        <pc:picChg chg="del">
          <ac:chgData name="Toby Lewis" userId="066a3a73-b684-4af0-a6ca-f0fee0166471" providerId="ADAL" clId="{F5F3857A-6011-984D-BCFB-F6CEB17D7916}" dt="2023-09-03T21:49:23.704" v="3779" actId="478"/>
          <ac:picMkLst>
            <pc:docMk/>
            <pc:sldMk cId="1955734165" sldId="370"/>
            <ac:picMk id="7" creationId="{1BCB37C2-0978-F02A-F620-3B2D1657336D}"/>
          </ac:picMkLst>
        </pc:picChg>
        <pc:picChg chg="add mod">
          <ac:chgData name="Toby Lewis" userId="066a3a73-b684-4af0-a6ca-f0fee0166471" providerId="ADAL" clId="{F5F3857A-6011-984D-BCFB-F6CEB17D7916}" dt="2023-09-03T21:56:53.938" v="3852"/>
          <ac:picMkLst>
            <pc:docMk/>
            <pc:sldMk cId="1955734165" sldId="370"/>
            <ac:picMk id="8" creationId="{55B20936-826F-FCD5-621E-FACBA3FF749C}"/>
          </ac:picMkLst>
        </pc:picChg>
      </pc:sldChg>
      <pc:sldChg chg="addSp modSp add mod">
        <pc:chgData name="Toby Lewis" userId="066a3a73-b684-4af0-a6ca-f0fee0166471" providerId="ADAL" clId="{F5F3857A-6011-984D-BCFB-F6CEB17D7916}" dt="2023-09-03T21:57:29.204" v="3855" actId="1076"/>
        <pc:sldMkLst>
          <pc:docMk/>
          <pc:sldMk cId="920746459" sldId="371"/>
        </pc:sldMkLst>
        <pc:spChg chg="mod">
          <ac:chgData name="Toby Lewis" userId="066a3a73-b684-4af0-a6ca-f0fee0166471" providerId="ADAL" clId="{F5F3857A-6011-984D-BCFB-F6CEB17D7916}" dt="2023-09-03T21:49:57.820" v="3816" actId="20577"/>
          <ac:spMkLst>
            <pc:docMk/>
            <pc:sldMk cId="920746459" sldId="371"/>
            <ac:spMk id="6" creationId="{039496C1-60A5-4D03-9C78-04283CB74603}"/>
          </ac:spMkLst>
        </pc:spChg>
        <pc:picChg chg="add mod">
          <ac:chgData name="Toby Lewis" userId="066a3a73-b684-4af0-a6ca-f0fee0166471" providerId="ADAL" clId="{F5F3857A-6011-984D-BCFB-F6CEB17D7916}" dt="2023-09-03T21:57:29.204" v="3855" actId="1076"/>
          <ac:picMkLst>
            <pc:docMk/>
            <pc:sldMk cId="920746459" sldId="371"/>
            <ac:picMk id="7" creationId="{0215B23D-B154-BD41-7D25-A728C55967AC}"/>
          </ac:picMkLst>
        </pc:picChg>
      </pc:sldChg>
      <pc:sldChg chg="addSp modSp add mod ord">
        <pc:chgData name="Toby Lewis" userId="066a3a73-b684-4af0-a6ca-f0fee0166471" providerId="ADAL" clId="{F5F3857A-6011-984D-BCFB-F6CEB17D7916}" dt="2023-09-03T22:00:28.409" v="3863" actId="20577"/>
        <pc:sldMkLst>
          <pc:docMk/>
          <pc:sldMk cId="3073532619" sldId="372"/>
        </pc:sldMkLst>
        <pc:spChg chg="mod">
          <ac:chgData name="Toby Lewis" userId="066a3a73-b684-4af0-a6ca-f0fee0166471" providerId="ADAL" clId="{F5F3857A-6011-984D-BCFB-F6CEB17D7916}" dt="2023-09-03T22:00:28.409" v="3863" actId="20577"/>
          <ac:spMkLst>
            <pc:docMk/>
            <pc:sldMk cId="3073532619" sldId="372"/>
            <ac:spMk id="6" creationId="{039496C1-60A5-4D03-9C78-04283CB74603}"/>
          </ac:spMkLst>
        </pc:spChg>
        <pc:picChg chg="add mod">
          <ac:chgData name="Toby Lewis" userId="066a3a73-b684-4af0-a6ca-f0fee0166471" providerId="ADAL" clId="{F5F3857A-6011-984D-BCFB-F6CEB17D7916}" dt="2023-09-03T21:58:14.537" v="3857" actId="1076"/>
          <ac:picMkLst>
            <pc:docMk/>
            <pc:sldMk cId="3073532619" sldId="372"/>
            <ac:picMk id="7" creationId="{592B4B76-C67D-40FB-9E79-0CC3810F15C3}"/>
          </ac:picMkLst>
        </pc:picChg>
      </pc:sldChg>
      <pc:sldChg chg="addSp delSp modSp add del mod">
        <pc:chgData name="Toby Lewis" userId="066a3a73-b684-4af0-a6ca-f0fee0166471" providerId="ADAL" clId="{F5F3857A-6011-984D-BCFB-F6CEB17D7916}" dt="2023-09-04T08:12:30.310" v="4035" actId="2696"/>
        <pc:sldMkLst>
          <pc:docMk/>
          <pc:sldMk cId="1061687194" sldId="373"/>
        </pc:sldMkLst>
        <pc:spChg chg="mod">
          <ac:chgData name="Toby Lewis" userId="066a3a73-b684-4af0-a6ca-f0fee0166471" providerId="ADAL" clId="{F5F3857A-6011-984D-BCFB-F6CEB17D7916}" dt="2023-09-04T08:07:21.735" v="3974" actId="20577"/>
          <ac:spMkLst>
            <pc:docMk/>
            <pc:sldMk cId="1061687194" sldId="373"/>
            <ac:spMk id="7" creationId="{5046E607-0BFA-6899-7931-7D271449EE0A}"/>
          </ac:spMkLst>
        </pc:spChg>
        <pc:spChg chg="mod">
          <ac:chgData name="Toby Lewis" userId="066a3a73-b684-4af0-a6ca-f0fee0166471" providerId="ADAL" clId="{F5F3857A-6011-984D-BCFB-F6CEB17D7916}" dt="2023-09-04T08:06:12.709" v="3960" actId="1076"/>
          <ac:spMkLst>
            <pc:docMk/>
            <pc:sldMk cId="1061687194" sldId="373"/>
            <ac:spMk id="10" creationId="{A16A8F15-5C2B-9C90-D826-DEEE3EF08B39}"/>
          </ac:spMkLst>
        </pc:spChg>
        <pc:spChg chg="del">
          <ac:chgData name="Toby Lewis" userId="066a3a73-b684-4af0-a6ca-f0fee0166471" providerId="ADAL" clId="{F5F3857A-6011-984D-BCFB-F6CEB17D7916}" dt="2023-09-04T08:05:03.031" v="3939" actId="478"/>
          <ac:spMkLst>
            <pc:docMk/>
            <pc:sldMk cId="1061687194" sldId="373"/>
            <ac:spMk id="11" creationId="{7B464630-81B2-D2C3-C394-B7241215C378}"/>
          </ac:spMkLst>
        </pc:spChg>
        <pc:spChg chg="del">
          <ac:chgData name="Toby Lewis" userId="066a3a73-b684-4af0-a6ca-f0fee0166471" providerId="ADAL" clId="{F5F3857A-6011-984D-BCFB-F6CEB17D7916}" dt="2023-09-04T08:05:05.614" v="3941" actId="478"/>
          <ac:spMkLst>
            <pc:docMk/>
            <pc:sldMk cId="1061687194" sldId="373"/>
            <ac:spMk id="12" creationId="{74CBC429-34E4-966D-E000-5687EDBB92D9}"/>
          </ac:spMkLst>
        </pc:spChg>
        <pc:spChg chg="mod">
          <ac:chgData name="Toby Lewis" userId="066a3a73-b684-4af0-a6ca-f0fee0166471" providerId="ADAL" clId="{F5F3857A-6011-984D-BCFB-F6CEB17D7916}" dt="2023-09-04T08:06:00.786" v="3956" actId="5793"/>
          <ac:spMkLst>
            <pc:docMk/>
            <pc:sldMk cId="1061687194" sldId="373"/>
            <ac:spMk id="13" creationId="{69CB1FE5-9306-2D2B-E750-894AD6D7486A}"/>
          </ac:spMkLst>
        </pc:spChg>
        <pc:spChg chg="add mod">
          <ac:chgData name="Toby Lewis" userId="066a3a73-b684-4af0-a6ca-f0fee0166471" providerId="ADAL" clId="{F5F3857A-6011-984D-BCFB-F6CEB17D7916}" dt="2023-09-04T08:06:33.176" v="3966" actId="1076"/>
          <ac:spMkLst>
            <pc:docMk/>
            <pc:sldMk cId="1061687194" sldId="373"/>
            <ac:spMk id="22" creationId="{9B49A2E9-53F0-E9F0-7F47-B0B874252740}"/>
          </ac:spMkLst>
        </pc:spChg>
        <pc:picChg chg="del">
          <ac:chgData name="Toby Lewis" userId="066a3a73-b684-4af0-a6ca-f0fee0166471" providerId="ADAL" clId="{F5F3857A-6011-984D-BCFB-F6CEB17D7916}" dt="2023-09-04T08:04:37.623" v="3938" actId="478"/>
          <ac:picMkLst>
            <pc:docMk/>
            <pc:sldMk cId="1061687194" sldId="373"/>
            <ac:picMk id="6" creationId="{9ED71AA8-75D4-FC84-B58D-A7BCB14ACD82}"/>
          </ac:picMkLst>
        </pc:picChg>
        <pc:cxnChg chg="add mod">
          <ac:chgData name="Toby Lewis" userId="066a3a73-b684-4af0-a6ca-f0fee0166471" providerId="ADAL" clId="{F5F3857A-6011-984D-BCFB-F6CEB17D7916}" dt="2023-09-04T08:06:24.059" v="3964" actId="14100"/>
          <ac:cxnSpMkLst>
            <pc:docMk/>
            <pc:sldMk cId="1061687194" sldId="373"/>
            <ac:cxnSpMk id="17" creationId="{CD22E0BB-77FC-3FE3-B161-8B6DD011F87B}"/>
          </ac:cxnSpMkLst>
        </pc:cxnChg>
        <pc:cxnChg chg="mod">
          <ac:chgData name="Toby Lewis" userId="066a3a73-b684-4af0-a6ca-f0fee0166471" providerId="ADAL" clId="{F5F3857A-6011-984D-BCFB-F6CEB17D7916}" dt="2023-09-04T08:06:12.709" v="3960" actId="1076"/>
          <ac:cxnSpMkLst>
            <pc:docMk/>
            <pc:sldMk cId="1061687194" sldId="373"/>
            <ac:cxnSpMk id="19" creationId="{26A3931D-3BDD-C173-1766-D656067A547E}"/>
          </ac:cxnSpMkLst>
        </pc:cxnChg>
        <pc:cxnChg chg="del mod">
          <ac:chgData name="Toby Lewis" userId="066a3a73-b684-4af0-a6ca-f0fee0166471" providerId="ADAL" clId="{F5F3857A-6011-984D-BCFB-F6CEB17D7916}" dt="2023-09-04T08:05:04.485" v="3940" actId="478"/>
          <ac:cxnSpMkLst>
            <pc:docMk/>
            <pc:sldMk cId="1061687194" sldId="373"/>
            <ac:cxnSpMk id="21" creationId="{D544EA92-5162-B00D-F1A4-D9D252BF712B}"/>
          </ac:cxnSpMkLst>
        </pc:cxnChg>
        <pc:cxnChg chg="del mod">
          <ac:chgData name="Toby Lewis" userId="066a3a73-b684-4af0-a6ca-f0fee0166471" providerId="ADAL" clId="{F5F3857A-6011-984D-BCFB-F6CEB17D7916}" dt="2023-09-04T08:05:40.900" v="3952" actId="478"/>
          <ac:cxnSpMkLst>
            <pc:docMk/>
            <pc:sldMk cId="1061687194" sldId="373"/>
            <ac:cxnSpMk id="25" creationId="{D1800EE7-90CC-DCAA-2245-3D1023D100E5}"/>
          </ac:cxnSpMkLst>
        </pc:cxnChg>
      </pc:sldChg>
      <pc:sldChg chg="addSp delSp modSp add del mod">
        <pc:chgData name="Toby Lewis" userId="066a3a73-b684-4af0-a6ca-f0fee0166471" providerId="ADAL" clId="{F5F3857A-6011-984D-BCFB-F6CEB17D7916}" dt="2023-09-04T08:12:25.889" v="4034" actId="2696"/>
        <pc:sldMkLst>
          <pc:docMk/>
          <pc:sldMk cId="1454710658" sldId="374"/>
        </pc:sldMkLst>
        <pc:spChg chg="add mod">
          <ac:chgData name="Toby Lewis" userId="066a3a73-b684-4af0-a6ca-f0fee0166471" providerId="ADAL" clId="{F5F3857A-6011-984D-BCFB-F6CEB17D7916}" dt="2023-09-04T08:11:19.248" v="4019" actId="1076"/>
          <ac:spMkLst>
            <pc:docMk/>
            <pc:sldMk cId="1454710658" sldId="374"/>
            <ac:spMk id="3" creationId="{BB2D4217-9D47-F7BD-E808-BEE5605A9627}"/>
          </ac:spMkLst>
        </pc:spChg>
        <pc:spChg chg="del">
          <ac:chgData name="Toby Lewis" userId="066a3a73-b684-4af0-a6ca-f0fee0166471" providerId="ADAL" clId="{F5F3857A-6011-984D-BCFB-F6CEB17D7916}" dt="2023-09-04T08:11:02.650" v="4015" actId="478"/>
          <ac:spMkLst>
            <pc:docMk/>
            <pc:sldMk cId="1454710658" sldId="374"/>
            <ac:spMk id="10" creationId="{A16A8F15-5C2B-9C90-D826-DEEE3EF08B39}"/>
          </ac:spMkLst>
        </pc:spChg>
        <pc:spChg chg="del">
          <ac:chgData name="Toby Lewis" userId="066a3a73-b684-4af0-a6ca-f0fee0166471" providerId="ADAL" clId="{F5F3857A-6011-984D-BCFB-F6CEB17D7916}" dt="2023-09-04T08:11:01.283" v="4014" actId="478"/>
          <ac:spMkLst>
            <pc:docMk/>
            <pc:sldMk cId="1454710658" sldId="374"/>
            <ac:spMk id="11" creationId="{7B464630-81B2-D2C3-C394-B7241215C378}"/>
          </ac:spMkLst>
        </pc:spChg>
        <pc:spChg chg="del">
          <ac:chgData name="Toby Lewis" userId="066a3a73-b684-4af0-a6ca-f0fee0166471" providerId="ADAL" clId="{F5F3857A-6011-984D-BCFB-F6CEB17D7916}" dt="2023-09-04T08:10:57.834" v="4011" actId="478"/>
          <ac:spMkLst>
            <pc:docMk/>
            <pc:sldMk cId="1454710658" sldId="374"/>
            <ac:spMk id="12" creationId="{74CBC429-34E4-966D-E000-5687EDBB92D9}"/>
          </ac:spMkLst>
        </pc:spChg>
        <pc:spChg chg="mod">
          <ac:chgData name="Toby Lewis" userId="066a3a73-b684-4af0-a6ca-f0fee0166471" providerId="ADAL" clId="{F5F3857A-6011-984D-BCFB-F6CEB17D7916}" dt="2023-09-04T08:11:47.295" v="4025" actId="1076"/>
          <ac:spMkLst>
            <pc:docMk/>
            <pc:sldMk cId="1454710658" sldId="374"/>
            <ac:spMk id="13" creationId="{69CB1FE5-9306-2D2B-E750-894AD6D7486A}"/>
          </ac:spMkLst>
        </pc:spChg>
        <pc:spChg chg="mod">
          <ac:chgData name="Toby Lewis" userId="066a3a73-b684-4af0-a6ca-f0fee0166471" providerId="ADAL" clId="{F5F3857A-6011-984D-BCFB-F6CEB17D7916}" dt="2023-09-04T08:11:40.165" v="4024" actId="1076"/>
          <ac:spMkLst>
            <pc:docMk/>
            <pc:sldMk cId="1454710658" sldId="374"/>
            <ac:spMk id="36" creationId="{06523DEE-5897-7ED5-3AEA-EC94DECA4887}"/>
          </ac:spMkLst>
        </pc:spChg>
        <pc:cxnChg chg="mod">
          <ac:chgData name="Toby Lewis" userId="066a3a73-b684-4af0-a6ca-f0fee0166471" providerId="ADAL" clId="{F5F3857A-6011-984D-BCFB-F6CEB17D7916}" dt="2023-09-04T08:11:47.295" v="4025" actId="1076"/>
          <ac:cxnSpMkLst>
            <pc:docMk/>
            <pc:sldMk cId="1454710658" sldId="374"/>
            <ac:cxnSpMk id="19" creationId="{26A3931D-3BDD-C173-1766-D656067A547E}"/>
          </ac:cxnSpMkLst>
        </pc:cxnChg>
        <pc:cxnChg chg="del mod">
          <ac:chgData name="Toby Lewis" userId="066a3a73-b684-4af0-a6ca-f0fee0166471" providerId="ADAL" clId="{F5F3857A-6011-984D-BCFB-F6CEB17D7916}" dt="2023-09-04T08:11:00.282" v="4013" actId="478"/>
          <ac:cxnSpMkLst>
            <pc:docMk/>
            <pc:sldMk cId="1454710658" sldId="374"/>
            <ac:cxnSpMk id="21" creationId="{D544EA92-5162-B00D-F1A4-D9D252BF712B}"/>
          </ac:cxnSpMkLst>
        </pc:cxnChg>
        <pc:cxnChg chg="mod">
          <ac:chgData name="Toby Lewis" userId="066a3a73-b684-4af0-a6ca-f0fee0166471" providerId="ADAL" clId="{F5F3857A-6011-984D-BCFB-F6CEB17D7916}" dt="2023-09-04T08:11:47.295" v="4025" actId="1076"/>
          <ac:cxnSpMkLst>
            <pc:docMk/>
            <pc:sldMk cId="1454710658" sldId="374"/>
            <ac:cxnSpMk id="23" creationId="{255BDF42-1862-EC6B-48BF-47684ED6DF75}"/>
          </ac:cxnSpMkLst>
        </pc:cxnChg>
        <pc:cxnChg chg="del mod">
          <ac:chgData name="Toby Lewis" userId="066a3a73-b684-4af0-a6ca-f0fee0166471" providerId="ADAL" clId="{F5F3857A-6011-984D-BCFB-F6CEB17D7916}" dt="2023-09-04T08:10:58.944" v="4012" actId="478"/>
          <ac:cxnSpMkLst>
            <pc:docMk/>
            <pc:sldMk cId="1454710658" sldId="374"/>
            <ac:cxnSpMk id="25" creationId="{D1800EE7-90CC-DCAA-2245-3D1023D100E5}"/>
          </ac:cxnSpMkLst>
        </pc:cxnChg>
        <pc:cxnChg chg="mod">
          <ac:chgData name="Toby Lewis" userId="066a3a73-b684-4af0-a6ca-f0fee0166471" providerId="ADAL" clId="{F5F3857A-6011-984D-BCFB-F6CEB17D7916}" dt="2023-09-04T08:11:40.165" v="4024" actId="1076"/>
          <ac:cxnSpMkLst>
            <pc:docMk/>
            <pc:sldMk cId="1454710658" sldId="374"/>
            <ac:cxnSpMk id="37" creationId="{166AB625-42A2-BC3F-BE05-FA52AB0490C3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4T08:59:51.811" v="4238" actId="13822"/>
        <pc:sldMkLst>
          <pc:docMk/>
          <pc:sldMk cId="2445491934" sldId="375"/>
        </pc:sldMkLst>
        <pc:spChg chg="add mod">
          <ac:chgData name="Toby Lewis" userId="066a3a73-b684-4af0-a6ca-f0fee0166471" providerId="ADAL" clId="{F5F3857A-6011-984D-BCFB-F6CEB17D7916}" dt="2023-09-04T08:12:16.396" v="4033" actId="1076"/>
          <ac:spMkLst>
            <pc:docMk/>
            <pc:sldMk cId="2445491934" sldId="375"/>
            <ac:spMk id="3" creationId="{F1A442D3-17C7-A56A-B2B6-E85C816B30EC}"/>
          </ac:spMkLst>
        </pc:spChg>
        <pc:spChg chg="mod">
          <ac:chgData name="Toby Lewis" userId="066a3a73-b684-4af0-a6ca-f0fee0166471" providerId="ADAL" clId="{F5F3857A-6011-984D-BCFB-F6CEB17D7916}" dt="2023-09-04T08:59:51.811" v="4238" actId="13822"/>
          <ac:spMkLst>
            <pc:docMk/>
            <pc:sldMk cId="2445491934" sldId="375"/>
            <ac:spMk id="8" creationId="{8C263B71-AA85-9491-0C66-713B0048861D}"/>
          </ac:spMkLst>
        </pc:spChg>
        <pc:spChg chg="del">
          <ac:chgData name="Toby Lewis" userId="066a3a73-b684-4af0-a6ca-f0fee0166471" providerId="ADAL" clId="{F5F3857A-6011-984D-BCFB-F6CEB17D7916}" dt="2023-09-04T08:12:04.859" v="4029" actId="478"/>
          <ac:spMkLst>
            <pc:docMk/>
            <pc:sldMk cId="2445491934" sldId="375"/>
            <ac:spMk id="36" creationId="{06523DEE-5897-7ED5-3AEA-EC94DECA4887}"/>
          </ac:spMkLst>
        </pc:spChg>
        <pc:picChg chg="del">
          <ac:chgData name="Toby Lewis" userId="066a3a73-b684-4af0-a6ca-f0fee0166471" providerId="ADAL" clId="{F5F3857A-6011-984D-BCFB-F6CEB17D7916}" dt="2023-09-04T08:13:34.681" v="4036" actId="478"/>
          <ac:picMkLst>
            <pc:docMk/>
            <pc:sldMk cId="2445491934" sldId="375"/>
            <ac:picMk id="6" creationId="{9ED71AA8-75D4-FC84-B58D-A7BCB14ACD82}"/>
          </ac:picMkLst>
        </pc:picChg>
        <pc:picChg chg="add mod">
          <ac:chgData name="Toby Lewis" userId="066a3a73-b684-4af0-a6ca-f0fee0166471" providerId="ADAL" clId="{F5F3857A-6011-984D-BCFB-F6CEB17D7916}" dt="2023-09-04T08:13:48.024" v="4040" actId="1076"/>
          <ac:picMkLst>
            <pc:docMk/>
            <pc:sldMk cId="2445491934" sldId="375"/>
            <ac:picMk id="20" creationId="{32FEC1C9-6F19-068F-53B1-1A4910CB7DD3}"/>
          </ac:picMkLst>
        </pc:picChg>
        <pc:cxnChg chg="mod">
          <ac:chgData name="Toby Lewis" userId="066a3a73-b684-4af0-a6ca-f0fee0166471" providerId="ADAL" clId="{F5F3857A-6011-984D-BCFB-F6CEB17D7916}" dt="2023-09-04T08:12:16.396" v="4033" actId="1076"/>
          <ac:cxnSpMkLst>
            <pc:docMk/>
            <pc:sldMk cId="2445491934" sldId="375"/>
            <ac:cxnSpMk id="37" creationId="{166AB625-42A2-BC3F-BE05-FA52AB0490C3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4T10:40:17.280" v="4245" actId="1036"/>
        <pc:sldMkLst>
          <pc:docMk/>
          <pc:sldMk cId="1172044420" sldId="376"/>
        </pc:sldMkLst>
        <pc:spChg chg="add mod">
          <ac:chgData name="Toby Lewis" userId="066a3a73-b684-4af0-a6ca-f0fee0166471" providerId="ADAL" clId="{F5F3857A-6011-984D-BCFB-F6CEB17D7916}" dt="2023-09-04T08:37:50.376" v="4103" actId="13822"/>
          <ac:spMkLst>
            <pc:docMk/>
            <pc:sldMk cId="1172044420" sldId="376"/>
            <ac:spMk id="3" creationId="{0B80F3D5-E163-F0AE-2CB7-463BF010D019}"/>
          </ac:spMkLst>
        </pc:spChg>
        <pc:spChg chg="add mod">
          <ac:chgData name="Toby Lewis" userId="066a3a73-b684-4af0-a6ca-f0fee0166471" providerId="ADAL" clId="{F5F3857A-6011-984D-BCFB-F6CEB17D7916}" dt="2023-09-04T09:00:04.528" v="4239" actId="13822"/>
          <ac:spMkLst>
            <pc:docMk/>
            <pc:sldMk cId="1172044420" sldId="376"/>
            <ac:spMk id="7" creationId="{AF8A69C2-3D57-ED5E-32D1-DFA48783E48F}"/>
          </ac:spMkLst>
        </pc:spChg>
        <pc:spChg chg="del">
          <ac:chgData name="Toby Lewis" userId="066a3a73-b684-4af0-a6ca-f0fee0166471" providerId="ADAL" clId="{F5F3857A-6011-984D-BCFB-F6CEB17D7916}" dt="2023-09-04T08:57:59.098" v="4228" actId="478"/>
          <ac:spMkLst>
            <pc:docMk/>
            <pc:sldMk cId="1172044420" sldId="376"/>
            <ac:spMk id="8" creationId="{8C263B71-AA85-9491-0C66-713B0048861D}"/>
          </ac:spMkLst>
        </pc:spChg>
        <pc:spChg chg="add mod">
          <ac:chgData name="Toby Lewis" userId="066a3a73-b684-4af0-a6ca-f0fee0166471" providerId="ADAL" clId="{F5F3857A-6011-984D-BCFB-F6CEB17D7916}" dt="2023-09-04T09:00:04.528" v="4239" actId="13822"/>
          <ac:spMkLst>
            <pc:docMk/>
            <pc:sldMk cId="1172044420" sldId="376"/>
            <ac:spMk id="15" creationId="{AE8F0A1B-989D-A537-D798-7535B561206B}"/>
          </ac:spMkLst>
        </pc:spChg>
        <pc:spChg chg="del">
          <ac:chgData name="Toby Lewis" userId="066a3a73-b684-4af0-a6ca-f0fee0166471" providerId="ADAL" clId="{F5F3857A-6011-984D-BCFB-F6CEB17D7916}" dt="2023-09-04T08:58:00.082" v="4229" actId="478"/>
          <ac:spMkLst>
            <pc:docMk/>
            <pc:sldMk cId="1172044420" sldId="376"/>
            <ac:spMk id="26" creationId="{C4843468-0B66-106A-D336-DF229F9940F5}"/>
          </ac:spMkLst>
        </pc:spChg>
        <pc:spChg chg="del">
          <ac:chgData name="Toby Lewis" userId="066a3a73-b684-4af0-a6ca-f0fee0166471" providerId="ADAL" clId="{F5F3857A-6011-984D-BCFB-F6CEB17D7916}" dt="2023-09-04T08:58:01.799" v="4230" actId="478"/>
          <ac:spMkLst>
            <pc:docMk/>
            <pc:sldMk cId="1172044420" sldId="376"/>
            <ac:spMk id="28" creationId="{A0015E7E-E2FF-01EE-4CCF-C45B92235B3E}"/>
          </ac:spMkLst>
        </pc:spChg>
        <pc:spChg chg="mod">
          <ac:chgData name="Toby Lewis" userId="066a3a73-b684-4af0-a6ca-f0fee0166471" providerId="ADAL" clId="{F5F3857A-6011-984D-BCFB-F6CEB17D7916}" dt="2023-09-04T10:40:17.280" v="4245" actId="1036"/>
          <ac:spMkLst>
            <pc:docMk/>
            <pc:sldMk cId="1172044420" sldId="376"/>
            <ac:spMk id="29" creationId="{100B85DA-723D-B468-E303-00A943041A5A}"/>
          </ac:spMkLst>
        </pc:spChg>
        <pc:spChg chg="del mod">
          <ac:chgData name="Toby Lewis" userId="066a3a73-b684-4af0-a6ca-f0fee0166471" providerId="ADAL" clId="{F5F3857A-6011-984D-BCFB-F6CEB17D7916}" dt="2023-09-04T08:58:03.810" v="4232" actId="478"/>
          <ac:spMkLst>
            <pc:docMk/>
            <pc:sldMk cId="1172044420" sldId="376"/>
            <ac:spMk id="31" creationId="{96E42254-BD1E-07E4-7A43-5918A4C9A18D}"/>
          </ac:spMkLst>
        </pc:spChg>
        <pc:spChg chg="mod">
          <ac:chgData name="Toby Lewis" userId="066a3a73-b684-4af0-a6ca-f0fee0166471" providerId="ADAL" clId="{F5F3857A-6011-984D-BCFB-F6CEB17D7916}" dt="2023-09-04T08:37:04.764" v="4097" actId="1076"/>
          <ac:spMkLst>
            <pc:docMk/>
            <pc:sldMk cId="1172044420" sldId="376"/>
            <ac:spMk id="32" creationId="{8DC72B7B-CF1A-F263-63C9-8D0C8F35717E}"/>
          </ac:spMkLst>
        </pc:spChg>
        <pc:spChg chg="del mod">
          <ac:chgData name="Toby Lewis" userId="066a3a73-b684-4af0-a6ca-f0fee0166471" providerId="ADAL" clId="{F5F3857A-6011-984D-BCFB-F6CEB17D7916}" dt="2023-09-04T08:58:02.919" v="4231" actId="478"/>
          <ac:spMkLst>
            <pc:docMk/>
            <pc:sldMk cId="1172044420" sldId="376"/>
            <ac:spMk id="33" creationId="{19056DF6-84BA-00EC-6F39-DB40D43FCB72}"/>
          </ac:spMkLst>
        </pc:spChg>
        <pc:picChg chg="del">
          <ac:chgData name="Toby Lewis" userId="066a3a73-b684-4af0-a6ca-f0fee0166471" providerId="ADAL" clId="{F5F3857A-6011-984D-BCFB-F6CEB17D7916}" dt="2023-09-04T08:36:28.291" v="4084" actId="478"/>
          <ac:picMkLst>
            <pc:docMk/>
            <pc:sldMk cId="1172044420" sldId="376"/>
            <ac:picMk id="6" creationId="{3807793E-F97D-F295-C23F-F7E53E1FF86B}"/>
          </ac:picMkLst>
        </pc:picChg>
        <pc:picChg chg="del">
          <ac:chgData name="Toby Lewis" userId="066a3a73-b684-4af0-a6ca-f0fee0166471" providerId="ADAL" clId="{F5F3857A-6011-984D-BCFB-F6CEB17D7916}" dt="2023-09-04T08:36:31.285" v="4087" actId="478"/>
          <ac:picMkLst>
            <pc:docMk/>
            <pc:sldMk cId="1172044420" sldId="376"/>
            <ac:picMk id="9" creationId="{F39844AB-4557-F684-6053-E60355AFABEA}"/>
          </ac:picMkLst>
        </pc:picChg>
        <pc:picChg chg="del">
          <ac:chgData name="Toby Lewis" userId="066a3a73-b684-4af0-a6ca-f0fee0166471" providerId="ADAL" clId="{F5F3857A-6011-984D-BCFB-F6CEB17D7916}" dt="2023-09-04T08:36:32.275" v="4088" actId="478"/>
          <ac:picMkLst>
            <pc:docMk/>
            <pc:sldMk cId="1172044420" sldId="376"/>
            <ac:picMk id="11" creationId="{4967CC95-102A-1589-3642-E8A426CC7D6F}"/>
          </ac:picMkLst>
        </pc:picChg>
        <pc:picChg chg="add mod">
          <ac:chgData name="Toby Lewis" userId="066a3a73-b684-4af0-a6ca-f0fee0166471" providerId="ADAL" clId="{F5F3857A-6011-984D-BCFB-F6CEB17D7916}" dt="2023-09-04T08:41:55.390" v="4114" actId="1076"/>
          <ac:picMkLst>
            <pc:docMk/>
            <pc:sldMk cId="1172044420" sldId="376"/>
            <ac:picMk id="17" creationId="{62EBF06D-440D-EAF0-AEDB-DEB4560AFF47}"/>
          </ac:picMkLst>
        </pc:picChg>
        <pc:cxnChg chg="add mod">
          <ac:chgData name="Toby Lewis" userId="066a3a73-b684-4af0-a6ca-f0fee0166471" providerId="ADAL" clId="{F5F3857A-6011-984D-BCFB-F6CEB17D7916}" dt="2023-09-04T08:41:41.940" v="4110" actId="1076"/>
          <ac:cxnSpMkLst>
            <pc:docMk/>
            <pc:sldMk cId="1172044420" sldId="376"/>
            <ac:cxnSpMk id="10" creationId="{FA60A742-A769-BDB7-8688-A3AF35EEBA16}"/>
          </ac:cxnSpMkLst>
        </pc:cxnChg>
        <pc:cxnChg chg="add mod">
          <ac:chgData name="Toby Lewis" userId="066a3a73-b684-4af0-a6ca-f0fee0166471" providerId="ADAL" clId="{F5F3857A-6011-984D-BCFB-F6CEB17D7916}" dt="2023-09-04T08:41:48.625" v="4112" actId="1076"/>
          <ac:cxnSpMkLst>
            <pc:docMk/>
            <pc:sldMk cId="1172044420" sldId="376"/>
            <ac:cxnSpMk id="12" creationId="{978C2D40-D103-E9AC-A849-0EB685AB0A23}"/>
          </ac:cxnSpMkLst>
        </pc:cxnChg>
        <pc:cxnChg chg="del mod">
          <ac:chgData name="Toby Lewis" userId="066a3a73-b684-4af0-a6ca-f0fee0166471" providerId="ADAL" clId="{F5F3857A-6011-984D-BCFB-F6CEB17D7916}" dt="2023-09-04T08:36:29.357" v="4085" actId="478"/>
          <ac:cxnSpMkLst>
            <pc:docMk/>
            <pc:sldMk cId="1172044420" sldId="376"/>
            <ac:cxnSpMk id="13" creationId="{19585C27-0EC7-414A-7E96-5952C3A00431}"/>
          </ac:cxnSpMkLst>
        </pc:cxnChg>
        <pc:cxnChg chg="del mod">
          <ac:chgData name="Toby Lewis" userId="066a3a73-b684-4af0-a6ca-f0fee0166471" providerId="ADAL" clId="{F5F3857A-6011-984D-BCFB-F6CEB17D7916}" dt="2023-09-04T08:36:30.440" v="4086" actId="478"/>
          <ac:cxnSpMkLst>
            <pc:docMk/>
            <pc:sldMk cId="1172044420" sldId="376"/>
            <ac:cxnSpMk id="20" creationId="{9AFA91A2-ECF4-AFF7-7AC9-98EA198AC304}"/>
          </ac:cxnSpMkLst>
        </pc:cxnChg>
        <pc:cxnChg chg="del mod">
          <ac:chgData name="Toby Lewis" userId="066a3a73-b684-4af0-a6ca-f0fee0166471" providerId="ADAL" clId="{F5F3857A-6011-984D-BCFB-F6CEB17D7916}" dt="2023-09-04T08:36:33.558" v="4089" actId="478"/>
          <ac:cxnSpMkLst>
            <pc:docMk/>
            <pc:sldMk cId="1172044420" sldId="376"/>
            <ac:cxnSpMk id="23" creationId="{F395FEFE-356B-D1FB-4FEC-84D49513639A}"/>
          </ac:cxnSpMkLst>
        </pc:cxnChg>
      </pc:sldChg>
      <pc:sldChg chg="modSp add mod">
        <pc:chgData name="Toby Lewis" userId="066a3a73-b684-4af0-a6ca-f0fee0166471" providerId="ADAL" clId="{F5F3857A-6011-984D-BCFB-F6CEB17D7916}" dt="2023-09-04T10:59:28.784" v="4258" actId="20577"/>
        <pc:sldMkLst>
          <pc:docMk/>
          <pc:sldMk cId="123682635" sldId="377"/>
        </pc:sldMkLst>
        <pc:spChg chg="mod">
          <ac:chgData name="Toby Lewis" userId="066a3a73-b684-4af0-a6ca-f0fee0166471" providerId="ADAL" clId="{F5F3857A-6011-984D-BCFB-F6CEB17D7916}" dt="2023-09-04T10:59:28.784" v="4258" actId="20577"/>
          <ac:spMkLst>
            <pc:docMk/>
            <pc:sldMk cId="123682635" sldId="377"/>
            <ac:spMk id="2" creationId="{150D83FE-DECD-608B-EABB-C7E0BE09D248}"/>
          </ac:spMkLst>
        </pc:spChg>
      </pc:sldChg>
      <pc:sldChg chg="add del">
        <pc:chgData name="Toby Lewis" userId="066a3a73-b684-4af0-a6ca-f0fee0166471" providerId="ADAL" clId="{F5F3857A-6011-984D-BCFB-F6CEB17D7916}" dt="2023-09-04T10:59:20.942" v="4247" actId="2696"/>
        <pc:sldMkLst>
          <pc:docMk/>
          <pc:sldMk cId="4087360068" sldId="377"/>
        </pc:sldMkLst>
      </pc:sldChg>
      <pc:sldChg chg="addSp delSp modSp add mod modNotesTx">
        <pc:chgData name="Toby Lewis" userId="066a3a73-b684-4af0-a6ca-f0fee0166471" providerId="ADAL" clId="{F5F3857A-6011-984D-BCFB-F6CEB17D7916}" dt="2023-09-04T13:05:10.720" v="6255" actId="20577"/>
        <pc:sldMkLst>
          <pc:docMk/>
          <pc:sldMk cId="905971895" sldId="378"/>
        </pc:sldMkLst>
        <pc:spChg chg="mod">
          <ac:chgData name="Toby Lewis" userId="066a3a73-b684-4af0-a6ca-f0fee0166471" providerId="ADAL" clId="{F5F3857A-6011-984D-BCFB-F6CEB17D7916}" dt="2023-09-04T11:15:25.346" v="4275" actId="20577"/>
          <ac:spMkLst>
            <pc:docMk/>
            <pc:sldMk cId="905971895" sldId="378"/>
            <ac:spMk id="2" creationId="{3F2B2E7F-AB3D-45A0-81A8-BC4C08360B5C}"/>
          </ac:spMkLst>
        </pc:spChg>
        <pc:spChg chg="mod">
          <ac:chgData name="Toby Lewis" userId="066a3a73-b684-4af0-a6ca-f0fee0166471" providerId="ADAL" clId="{F5F3857A-6011-984D-BCFB-F6CEB17D7916}" dt="2023-09-04T12:31:01.771" v="5000" actId="20577"/>
          <ac:spMkLst>
            <pc:docMk/>
            <pc:sldMk cId="905971895" sldId="378"/>
            <ac:spMk id="3" creationId="{5F8B59E8-CBF8-DF41-BFE2-408CDD7B971E}"/>
          </ac:spMkLst>
        </pc:spChg>
        <pc:spChg chg="mod">
          <ac:chgData name="Toby Lewis" userId="066a3a73-b684-4af0-a6ca-f0fee0166471" providerId="ADAL" clId="{F5F3857A-6011-984D-BCFB-F6CEB17D7916}" dt="2023-09-04T11:15:14.812" v="4270" actId="20577"/>
          <ac:spMkLst>
            <pc:docMk/>
            <pc:sldMk cId="905971895" sldId="378"/>
            <ac:spMk id="6" creationId="{039496C1-60A5-4D03-9C78-04283CB74603}"/>
          </ac:spMkLst>
        </pc:spChg>
        <pc:spChg chg="mod">
          <ac:chgData name="Toby Lewis" userId="066a3a73-b684-4af0-a6ca-f0fee0166471" providerId="ADAL" clId="{F5F3857A-6011-984D-BCFB-F6CEB17D7916}" dt="2023-09-04T12:33:23.899" v="5168" actId="1076"/>
          <ac:spMkLst>
            <pc:docMk/>
            <pc:sldMk cId="905971895" sldId="378"/>
            <ac:spMk id="16" creationId="{6CFBF5F6-2CC0-CD35-E95F-FE5430348416}"/>
          </ac:spMkLst>
        </pc:spChg>
        <pc:spChg chg="mod">
          <ac:chgData name="Toby Lewis" userId="066a3a73-b684-4af0-a6ca-f0fee0166471" providerId="ADAL" clId="{F5F3857A-6011-984D-BCFB-F6CEB17D7916}" dt="2023-09-04T11:16:22.198" v="4320" actId="20577"/>
          <ac:spMkLst>
            <pc:docMk/>
            <pc:sldMk cId="905971895" sldId="378"/>
            <ac:spMk id="17" creationId="{C4C99BA0-9218-C55A-6FBF-C71F1A51E2E5}"/>
          </ac:spMkLst>
        </pc:spChg>
        <pc:spChg chg="mod">
          <ac:chgData name="Toby Lewis" userId="066a3a73-b684-4af0-a6ca-f0fee0166471" providerId="ADAL" clId="{F5F3857A-6011-984D-BCFB-F6CEB17D7916}" dt="2023-09-04T11:17:47.120" v="4405" actId="20577"/>
          <ac:spMkLst>
            <pc:docMk/>
            <pc:sldMk cId="905971895" sldId="378"/>
            <ac:spMk id="18" creationId="{DC57449B-3D12-BD17-A83E-A383271AA95E}"/>
          </ac:spMkLst>
        </pc:spChg>
        <pc:grpChg chg="del">
          <ac:chgData name="Toby Lewis" userId="066a3a73-b684-4af0-a6ca-f0fee0166471" providerId="ADAL" clId="{F5F3857A-6011-984D-BCFB-F6CEB17D7916}" dt="2023-09-04T12:30:49.197" v="4970" actId="478"/>
          <ac:grpSpMkLst>
            <pc:docMk/>
            <pc:sldMk cId="905971895" sldId="378"/>
            <ac:grpSpMk id="7" creationId="{FD0F38F0-F8D1-5D00-152F-E4118B9FD0EF}"/>
          </ac:grpSpMkLst>
        </pc:grpChg>
        <pc:picChg chg="add mod">
          <ac:chgData name="Toby Lewis" userId="066a3a73-b684-4af0-a6ca-f0fee0166471" providerId="ADAL" clId="{F5F3857A-6011-984D-BCFB-F6CEB17D7916}" dt="2023-09-04T12:30:32.054" v="4963" actId="29295"/>
          <ac:picMkLst>
            <pc:docMk/>
            <pc:sldMk cId="905971895" sldId="378"/>
            <ac:picMk id="22" creationId="{62645DEC-1A34-B713-F97E-40BF01056F1F}"/>
          </ac:picMkLst>
        </pc:picChg>
        <pc:picChg chg="add mod">
          <ac:chgData name="Toby Lewis" userId="066a3a73-b684-4af0-a6ca-f0fee0166471" providerId="ADAL" clId="{F5F3857A-6011-984D-BCFB-F6CEB17D7916}" dt="2023-09-04T12:33:51.099" v="5193" actId="29295"/>
          <ac:picMkLst>
            <pc:docMk/>
            <pc:sldMk cId="905971895" sldId="378"/>
            <ac:picMk id="24" creationId="{95598332-CAB2-880E-F0FE-2437D8168E11}"/>
          </ac:picMkLst>
        </pc:picChg>
        <pc:picChg chg="del">
          <ac:chgData name="Toby Lewis" userId="066a3a73-b684-4af0-a6ca-f0fee0166471" providerId="ADAL" clId="{F5F3857A-6011-984D-BCFB-F6CEB17D7916}" dt="2023-09-04T12:30:45.046" v="4967" actId="478"/>
          <ac:picMkLst>
            <pc:docMk/>
            <pc:sldMk cId="905971895" sldId="378"/>
            <ac:picMk id="26" creationId="{6B58A275-8E4D-3DF4-933C-611801B66512}"/>
          </ac:picMkLst>
        </pc:picChg>
        <pc:picChg chg="add mod">
          <ac:chgData name="Toby Lewis" userId="066a3a73-b684-4af0-a6ca-f0fee0166471" providerId="ADAL" clId="{F5F3857A-6011-984D-BCFB-F6CEB17D7916}" dt="2023-09-04T12:34:20.905" v="5226" actId="29295"/>
          <ac:picMkLst>
            <pc:docMk/>
            <pc:sldMk cId="905971895" sldId="378"/>
            <ac:picMk id="27" creationId="{03140AEE-E5AB-62E6-1FA3-E2F0FCD54783}"/>
          </ac:picMkLst>
        </pc:picChg>
        <pc:picChg chg="del">
          <ac:chgData name="Toby Lewis" userId="066a3a73-b684-4af0-a6ca-f0fee0166471" providerId="ADAL" clId="{F5F3857A-6011-984D-BCFB-F6CEB17D7916}" dt="2023-09-04T12:30:46.412" v="4968" actId="478"/>
          <ac:picMkLst>
            <pc:docMk/>
            <pc:sldMk cId="905971895" sldId="378"/>
            <ac:picMk id="28" creationId="{8B3092A4-489D-49FC-0D99-A42E4FF3E35B}"/>
          </ac:picMkLst>
        </pc:picChg>
        <pc:picChg chg="del">
          <ac:chgData name="Toby Lewis" userId="066a3a73-b684-4af0-a6ca-f0fee0166471" providerId="ADAL" clId="{F5F3857A-6011-984D-BCFB-F6CEB17D7916}" dt="2023-09-04T12:30:47.332" v="4969" actId="478"/>
          <ac:picMkLst>
            <pc:docMk/>
            <pc:sldMk cId="905971895" sldId="378"/>
            <ac:picMk id="30" creationId="{F8CAD8B6-0741-5FFB-A2B1-3131547E2146}"/>
          </ac:picMkLst>
        </pc:picChg>
        <pc:picChg chg="del">
          <ac:chgData name="Toby Lewis" userId="066a3a73-b684-4af0-a6ca-f0fee0166471" providerId="ADAL" clId="{F5F3857A-6011-984D-BCFB-F6CEB17D7916}" dt="2023-09-04T12:30:08.228" v="4849" actId="478"/>
          <ac:picMkLst>
            <pc:docMk/>
            <pc:sldMk cId="905971895" sldId="378"/>
            <ac:picMk id="32" creationId="{16F717EE-4343-9956-939C-BA28F381EC31}"/>
          </ac:picMkLst>
        </pc:picChg>
        <pc:picChg chg="del">
          <ac:chgData name="Toby Lewis" userId="066a3a73-b684-4af0-a6ca-f0fee0166471" providerId="ADAL" clId="{F5F3857A-6011-984D-BCFB-F6CEB17D7916}" dt="2023-09-04T12:30:41.073" v="4964" actId="478"/>
          <ac:picMkLst>
            <pc:docMk/>
            <pc:sldMk cId="905971895" sldId="378"/>
            <ac:picMk id="34" creationId="{ABB01963-3667-5896-997A-F70AECE9420D}"/>
          </ac:picMkLst>
        </pc:picChg>
        <pc:picChg chg="del">
          <ac:chgData name="Toby Lewis" userId="066a3a73-b684-4af0-a6ca-f0fee0166471" providerId="ADAL" clId="{F5F3857A-6011-984D-BCFB-F6CEB17D7916}" dt="2023-09-04T12:30:43.358" v="4966" actId="478"/>
          <ac:picMkLst>
            <pc:docMk/>
            <pc:sldMk cId="905971895" sldId="378"/>
            <ac:picMk id="36" creationId="{061CCF5B-D8FE-0C27-2EAD-B1DD54310A73}"/>
          </ac:picMkLst>
        </pc:picChg>
        <pc:picChg chg="del">
          <ac:chgData name="Toby Lewis" userId="066a3a73-b684-4af0-a6ca-f0fee0166471" providerId="ADAL" clId="{F5F3857A-6011-984D-BCFB-F6CEB17D7916}" dt="2023-09-04T12:30:42.269" v="4965" actId="478"/>
          <ac:picMkLst>
            <pc:docMk/>
            <pc:sldMk cId="905971895" sldId="378"/>
            <ac:picMk id="41" creationId="{3C7FDDB4-BBB8-08B2-10E1-730DDE4B0BF7}"/>
          </ac:picMkLst>
        </pc:picChg>
        <pc:picChg chg="del">
          <ac:chgData name="Toby Lewis" userId="066a3a73-b684-4af0-a6ca-f0fee0166471" providerId="ADAL" clId="{F5F3857A-6011-984D-BCFB-F6CEB17D7916}" dt="2023-09-04T12:30:06.798" v="4848" actId="478"/>
          <ac:picMkLst>
            <pc:docMk/>
            <pc:sldMk cId="905971895" sldId="378"/>
            <ac:picMk id="45" creationId="{EED691F6-4E04-7E40-E435-2217BCA90C9C}"/>
          </ac:picMkLst>
        </pc:picChg>
      </pc:sldChg>
      <pc:sldChg chg="addSp delSp modSp add del mod modNotesTx">
        <pc:chgData name="Toby Lewis" userId="066a3a73-b684-4af0-a6ca-f0fee0166471" providerId="ADAL" clId="{F5F3857A-6011-984D-BCFB-F6CEB17D7916}" dt="2023-09-04T12:51:26.301" v="5828" actId="2696"/>
        <pc:sldMkLst>
          <pc:docMk/>
          <pc:sldMk cId="337394730" sldId="379"/>
        </pc:sldMkLst>
        <pc:spChg chg="mod">
          <ac:chgData name="Toby Lewis" userId="066a3a73-b684-4af0-a6ca-f0fee0166471" providerId="ADAL" clId="{F5F3857A-6011-984D-BCFB-F6CEB17D7916}" dt="2023-09-04T12:46:51.213" v="5641" actId="20577"/>
          <ac:spMkLst>
            <pc:docMk/>
            <pc:sldMk cId="337394730" sldId="379"/>
            <ac:spMk id="2" creationId="{3F2B2E7F-AB3D-45A0-81A8-BC4C08360B5C}"/>
          </ac:spMkLst>
        </pc:spChg>
        <pc:spChg chg="del">
          <ac:chgData name="Toby Lewis" userId="066a3a73-b684-4af0-a6ca-f0fee0166471" providerId="ADAL" clId="{F5F3857A-6011-984D-BCFB-F6CEB17D7916}" dt="2023-09-04T11:18:09.127" v="4407" actId="478"/>
          <ac:spMkLst>
            <pc:docMk/>
            <pc:sldMk cId="337394730" sldId="379"/>
            <ac:spMk id="3" creationId="{5F8B59E8-CBF8-DF41-BFE2-408CDD7B971E}"/>
          </ac:spMkLst>
        </pc:spChg>
        <pc:spChg chg="mod">
          <ac:chgData name="Toby Lewis" userId="066a3a73-b684-4af0-a6ca-f0fee0166471" providerId="ADAL" clId="{F5F3857A-6011-984D-BCFB-F6CEB17D7916}" dt="2023-09-04T12:48:56.483" v="5712"/>
          <ac:spMkLst>
            <pc:docMk/>
            <pc:sldMk cId="337394730" sldId="379"/>
            <ac:spMk id="6" creationId="{039496C1-60A5-4D03-9C78-04283CB74603}"/>
          </ac:spMkLst>
        </pc:spChg>
        <pc:spChg chg="add mod">
          <ac:chgData name="Toby Lewis" userId="066a3a73-b684-4af0-a6ca-f0fee0166471" providerId="ADAL" clId="{F5F3857A-6011-984D-BCFB-F6CEB17D7916}" dt="2023-09-04T12:49:29.868" v="5751" actId="20577"/>
          <ac:spMkLst>
            <pc:docMk/>
            <pc:sldMk cId="337394730" sldId="379"/>
            <ac:spMk id="14" creationId="{D2494D45-EB68-6292-243E-D90DA7E1D0A8}"/>
          </ac:spMkLst>
        </pc:spChg>
        <pc:spChg chg="mod">
          <ac:chgData name="Toby Lewis" userId="066a3a73-b684-4af0-a6ca-f0fee0166471" providerId="ADAL" clId="{F5F3857A-6011-984D-BCFB-F6CEB17D7916}" dt="2023-09-04T11:18:47.875" v="4415" actId="1076"/>
          <ac:spMkLst>
            <pc:docMk/>
            <pc:sldMk cId="337394730" sldId="379"/>
            <ac:spMk id="15" creationId="{9CF65A31-3065-ABF9-330B-998A5FB2F477}"/>
          </ac:spMkLst>
        </pc:spChg>
        <pc:spChg chg="mod">
          <ac:chgData name="Toby Lewis" userId="066a3a73-b684-4af0-a6ca-f0fee0166471" providerId="ADAL" clId="{F5F3857A-6011-984D-BCFB-F6CEB17D7916}" dt="2023-09-04T12:49:20.413" v="5743" actId="14100"/>
          <ac:spMkLst>
            <pc:docMk/>
            <pc:sldMk cId="337394730" sldId="379"/>
            <ac:spMk id="16" creationId="{6CFBF5F6-2CC0-CD35-E95F-FE5430348416}"/>
          </ac:spMkLst>
        </pc:spChg>
        <pc:spChg chg="mod">
          <ac:chgData name="Toby Lewis" userId="066a3a73-b684-4af0-a6ca-f0fee0166471" providerId="ADAL" clId="{F5F3857A-6011-984D-BCFB-F6CEB17D7916}" dt="2023-09-04T12:46:28.575" v="5614" actId="20577"/>
          <ac:spMkLst>
            <pc:docMk/>
            <pc:sldMk cId="337394730" sldId="379"/>
            <ac:spMk id="17" creationId="{C4C99BA0-9218-C55A-6FBF-C71F1A51E2E5}"/>
          </ac:spMkLst>
        </pc:spChg>
        <pc:spChg chg="del mod">
          <ac:chgData name="Toby Lewis" userId="066a3a73-b684-4af0-a6ca-f0fee0166471" providerId="ADAL" clId="{F5F3857A-6011-984D-BCFB-F6CEB17D7916}" dt="2023-09-04T12:31:39.191" v="5051" actId="478"/>
          <ac:spMkLst>
            <pc:docMk/>
            <pc:sldMk cId="337394730" sldId="379"/>
            <ac:spMk id="18" creationId="{DC57449B-3D12-BD17-A83E-A383271AA95E}"/>
          </ac:spMkLst>
        </pc:spChg>
        <pc:spChg chg="del">
          <ac:chgData name="Toby Lewis" userId="066a3a73-b684-4af0-a6ca-f0fee0166471" providerId="ADAL" clId="{F5F3857A-6011-984D-BCFB-F6CEB17D7916}" dt="2023-09-04T11:18:05.882" v="4406" actId="478"/>
          <ac:spMkLst>
            <pc:docMk/>
            <pc:sldMk cId="337394730" sldId="379"/>
            <ac:spMk id="19" creationId="{75CC369E-02D7-F5F9-021A-DDD13B5BB92D}"/>
          </ac:spMkLst>
        </pc:spChg>
        <pc:spChg chg="mod">
          <ac:chgData name="Toby Lewis" userId="066a3a73-b684-4af0-a6ca-f0fee0166471" providerId="ADAL" clId="{F5F3857A-6011-984D-BCFB-F6CEB17D7916}" dt="2023-09-04T11:18:37.342" v="4413" actId="1076"/>
          <ac:spMkLst>
            <pc:docMk/>
            <pc:sldMk cId="337394730" sldId="379"/>
            <ac:spMk id="20" creationId="{3E1AA019-3BA7-B962-ABA7-5674A62B60B7}"/>
          </ac:spMkLst>
        </pc:spChg>
        <pc:spChg chg="mod">
          <ac:chgData name="Toby Lewis" userId="066a3a73-b684-4af0-a6ca-f0fee0166471" providerId="ADAL" clId="{F5F3857A-6011-984D-BCFB-F6CEB17D7916}" dt="2023-09-04T11:18:42.722" v="4414" actId="1076"/>
          <ac:spMkLst>
            <pc:docMk/>
            <pc:sldMk cId="337394730" sldId="379"/>
            <ac:spMk id="21" creationId="{93A45347-9682-F38B-657F-B83ED58F5717}"/>
          </ac:spMkLst>
        </pc:spChg>
        <pc:grpChg chg="del">
          <ac:chgData name="Toby Lewis" userId="066a3a73-b684-4af0-a6ca-f0fee0166471" providerId="ADAL" clId="{F5F3857A-6011-984D-BCFB-F6CEB17D7916}" dt="2023-09-04T11:18:09.127" v="4407" actId="478"/>
          <ac:grpSpMkLst>
            <pc:docMk/>
            <pc:sldMk cId="337394730" sldId="379"/>
            <ac:grpSpMk id="7" creationId="{FD0F38F0-F8D1-5D00-152F-E4118B9FD0EF}"/>
          </ac:grpSpMkLst>
        </pc:grpChg>
        <pc:picChg chg="del">
          <ac:chgData name="Toby Lewis" userId="066a3a73-b684-4af0-a6ca-f0fee0166471" providerId="ADAL" clId="{F5F3857A-6011-984D-BCFB-F6CEB17D7916}" dt="2023-09-04T11:18:09.127" v="4407" actId="478"/>
          <ac:picMkLst>
            <pc:docMk/>
            <pc:sldMk cId="337394730" sldId="379"/>
            <ac:picMk id="26" creationId="{6B58A275-8E4D-3DF4-933C-611801B66512}"/>
          </ac:picMkLst>
        </pc:picChg>
        <pc:picChg chg="del">
          <ac:chgData name="Toby Lewis" userId="066a3a73-b684-4af0-a6ca-f0fee0166471" providerId="ADAL" clId="{F5F3857A-6011-984D-BCFB-F6CEB17D7916}" dt="2023-09-04T11:18:09.127" v="4407" actId="478"/>
          <ac:picMkLst>
            <pc:docMk/>
            <pc:sldMk cId="337394730" sldId="379"/>
            <ac:picMk id="28" creationId="{8B3092A4-489D-49FC-0D99-A42E4FF3E35B}"/>
          </ac:picMkLst>
        </pc:picChg>
        <pc:picChg chg="del">
          <ac:chgData name="Toby Lewis" userId="066a3a73-b684-4af0-a6ca-f0fee0166471" providerId="ADAL" clId="{F5F3857A-6011-984D-BCFB-F6CEB17D7916}" dt="2023-09-04T11:18:09.127" v="4407" actId="478"/>
          <ac:picMkLst>
            <pc:docMk/>
            <pc:sldMk cId="337394730" sldId="379"/>
            <ac:picMk id="30" creationId="{F8CAD8B6-0741-5FFB-A2B1-3131547E2146}"/>
          </ac:picMkLst>
        </pc:picChg>
        <pc:picChg chg="mod">
          <ac:chgData name="Toby Lewis" userId="066a3a73-b684-4af0-a6ca-f0fee0166471" providerId="ADAL" clId="{F5F3857A-6011-984D-BCFB-F6CEB17D7916}" dt="2023-09-04T11:18:42.722" v="4414" actId="1076"/>
          <ac:picMkLst>
            <pc:docMk/>
            <pc:sldMk cId="337394730" sldId="379"/>
            <ac:picMk id="32" creationId="{16F717EE-4343-9956-939C-BA28F381EC31}"/>
          </ac:picMkLst>
        </pc:picChg>
        <pc:picChg chg="del mod">
          <ac:chgData name="Toby Lewis" userId="066a3a73-b684-4af0-a6ca-f0fee0166471" providerId="ADAL" clId="{F5F3857A-6011-984D-BCFB-F6CEB17D7916}" dt="2023-09-04T12:31:40.732" v="5052" actId="478"/>
          <ac:picMkLst>
            <pc:docMk/>
            <pc:sldMk cId="337394730" sldId="379"/>
            <ac:picMk id="34" creationId="{ABB01963-3667-5896-997A-F70AECE9420D}"/>
          </ac:picMkLst>
        </pc:picChg>
        <pc:picChg chg="del mod">
          <ac:chgData name="Toby Lewis" userId="066a3a73-b684-4af0-a6ca-f0fee0166471" providerId="ADAL" clId="{F5F3857A-6011-984D-BCFB-F6CEB17D7916}" dt="2023-09-04T12:31:42.881" v="5054" actId="478"/>
          <ac:picMkLst>
            <pc:docMk/>
            <pc:sldMk cId="337394730" sldId="379"/>
            <ac:picMk id="36" creationId="{061CCF5B-D8FE-0C27-2EAD-B1DD54310A73}"/>
          </ac:picMkLst>
        </pc:picChg>
        <pc:picChg chg="del mod">
          <ac:chgData name="Toby Lewis" userId="066a3a73-b684-4af0-a6ca-f0fee0166471" providerId="ADAL" clId="{F5F3857A-6011-984D-BCFB-F6CEB17D7916}" dt="2023-09-04T12:31:41.818" v="5053" actId="478"/>
          <ac:picMkLst>
            <pc:docMk/>
            <pc:sldMk cId="337394730" sldId="379"/>
            <ac:picMk id="41" creationId="{3C7FDDB4-BBB8-08B2-10E1-730DDE4B0BF7}"/>
          </ac:picMkLst>
        </pc:picChg>
        <pc:picChg chg="del mod">
          <ac:chgData name="Toby Lewis" userId="066a3a73-b684-4af0-a6ca-f0fee0166471" providerId="ADAL" clId="{F5F3857A-6011-984D-BCFB-F6CEB17D7916}" dt="2023-09-04T12:31:37.324" v="5050" actId="478"/>
          <ac:picMkLst>
            <pc:docMk/>
            <pc:sldMk cId="337394730" sldId="379"/>
            <ac:picMk id="43" creationId="{2990B0AE-98CB-6CDB-7164-99AD3DD8DE5F}"/>
          </ac:picMkLst>
        </pc:picChg>
        <pc:picChg chg="mod">
          <ac:chgData name="Toby Lewis" userId="066a3a73-b684-4af0-a6ca-f0fee0166471" providerId="ADAL" clId="{F5F3857A-6011-984D-BCFB-F6CEB17D7916}" dt="2023-09-04T11:18:42.722" v="4414" actId="1076"/>
          <ac:picMkLst>
            <pc:docMk/>
            <pc:sldMk cId="337394730" sldId="379"/>
            <ac:picMk id="45" creationId="{EED691F6-4E04-7E40-E435-2217BCA90C9C}"/>
          </ac:picMkLst>
        </pc:picChg>
      </pc:sldChg>
      <pc:sldChg chg="add">
        <pc:chgData name="Toby Lewis" userId="066a3a73-b684-4af0-a6ca-f0fee0166471" providerId="ADAL" clId="{F5F3857A-6011-984D-BCFB-F6CEB17D7916}" dt="2023-09-04T11:19:00.342" v="4416"/>
        <pc:sldMkLst>
          <pc:docMk/>
          <pc:sldMk cId="655998140" sldId="380"/>
        </pc:sldMkLst>
      </pc:sldChg>
      <pc:sldChg chg="addSp delSp modSp add mod ord">
        <pc:chgData name="Toby Lewis" userId="066a3a73-b684-4af0-a6ca-f0fee0166471" providerId="ADAL" clId="{F5F3857A-6011-984D-BCFB-F6CEB17D7916}" dt="2023-09-04T12:26:12.919" v="4847" actId="29295"/>
        <pc:sldMkLst>
          <pc:docMk/>
          <pc:sldMk cId="2684949899" sldId="381"/>
        </pc:sldMkLst>
        <pc:spChg chg="mod">
          <ac:chgData name="Toby Lewis" userId="066a3a73-b684-4af0-a6ca-f0fee0166471" providerId="ADAL" clId="{F5F3857A-6011-984D-BCFB-F6CEB17D7916}" dt="2023-09-04T12:12:47.371" v="4633" actId="20577"/>
          <ac:spMkLst>
            <pc:docMk/>
            <pc:sldMk cId="2684949899" sldId="381"/>
            <ac:spMk id="2" creationId="{3F2B2E7F-AB3D-45A0-81A8-BC4C08360B5C}"/>
          </ac:spMkLst>
        </pc:spChg>
        <pc:spChg chg="mod">
          <ac:chgData name="Toby Lewis" userId="066a3a73-b684-4af0-a6ca-f0fee0166471" providerId="ADAL" clId="{F5F3857A-6011-984D-BCFB-F6CEB17D7916}" dt="2023-09-04T12:12:30.184" v="4596" actId="20577"/>
          <ac:spMkLst>
            <pc:docMk/>
            <pc:sldMk cId="2684949899" sldId="381"/>
            <ac:spMk id="3" creationId="{5F8B59E8-CBF8-DF41-BFE2-408CDD7B971E}"/>
          </ac:spMkLst>
        </pc:spChg>
        <pc:spChg chg="del">
          <ac:chgData name="Toby Lewis" userId="066a3a73-b684-4af0-a6ca-f0fee0166471" providerId="ADAL" clId="{F5F3857A-6011-984D-BCFB-F6CEB17D7916}" dt="2023-09-04T12:12:49.738" v="4634" actId="478"/>
          <ac:spMkLst>
            <pc:docMk/>
            <pc:sldMk cId="2684949899" sldId="381"/>
            <ac:spMk id="6" creationId="{039496C1-60A5-4D03-9C78-04283CB74603}"/>
          </ac:spMkLst>
        </pc:spChg>
        <pc:spChg chg="mod">
          <ac:chgData name="Toby Lewis" userId="066a3a73-b684-4af0-a6ca-f0fee0166471" providerId="ADAL" clId="{F5F3857A-6011-984D-BCFB-F6CEB17D7916}" dt="2023-09-04T12:09:37.088" v="4539" actId="20577"/>
          <ac:spMkLst>
            <pc:docMk/>
            <pc:sldMk cId="2684949899" sldId="381"/>
            <ac:spMk id="16" creationId="{6CFBF5F6-2CC0-CD35-E95F-FE5430348416}"/>
          </ac:spMkLst>
        </pc:spChg>
        <pc:spChg chg="mod">
          <ac:chgData name="Toby Lewis" userId="066a3a73-b684-4af0-a6ca-f0fee0166471" providerId="ADAL" clId="{F5F3857A-6011-984D-BCFB-F6CEB17D7916}" dt="2023-09-04T12:12:37.212" v="4623" actId="20577"/>
          <ac:spMkLst>
            <pc:docMk/>
            <pc:sldMk cId="2684949899" sldId="381"/>
            <ac:spMk id="17" creationId="{C4C99BA0-9218-C55A-6FBF-C71F1A51E2E5}"/>
          </ac:spMkLst>
        </pc:spChg>
        <pc:spChg chg="mod">
          <ac:chgData name="Toby Lewis" userId="066a3a73-b684-4af0-a6ca-f0fee0166471" providerId="ADAL" clId="{F5F3857A-6011-984D-BCFB-F6CEB17D7916}" dt="2023-09-04T12:12:17.972" v="4559" actId="20577"/>
          <ac:spMkLst>
            <pc:docMk/>
            <pc:sldMk cId="2684949899" sldId="381"/>
            <ac:spMk id="18" creationId="{DC57449B-3D12-BD17-A83E-A383271AA95E}"/>
          </ac:spMkLst>
        </pc:spChg>
        <pc:spChg chg="mod">
          <ac:chgData name="Toby Lewis" userId="066a3a73-b684-4af0-a6ca-f0fee0166471" providerId="ADAL" clId="{F5F3857A-6011-984D-BCFB-F6CEB17D7916}" dt="2023-09-04T12:23:04.446" v="4787" actId="167"/>
          <ac:spMkLst>
            <pc:docMk/>
            <pc:sldMk cId="2684949899" sldId="381"/>
            <ac:spMk id="19" creationId="{75CC369E-02D7-F5F9-021A-DDD13B5BB92D}"/>
          </ac:spMkLst>
        </pc:spChg>
        <pc:spChg chg="mod">
          <ac:chgData name="Toby Lewis" userId="066a3a73-b684-4af0-a6ca-f0fee0166471" providerId="ADAL" clId="{F5F3857A-6011-984D-BCFB-F6CEB17D7916}" dt="2023-09-04T12:26:08.813" v="4846" actId="167"/>
          <ac:spMkLst>
            <pc:docMk/>
            <pc:sldMk cId="2684949899" sldId="381"/>
            <ac:spMk id="20" creationId="{3E1AA019-3BA7-B962-ABA7-5674A62B60B7}"/>
          </ac:spMkLst>
        </pc:spChg>
        <pc:spChg chg="mod">
          <ac:chgData name="Toby Lewis" userId="066a3a73-b684-4af0-a6ca-f0fee0166471" providerId="ADAL" clId="{F5F3857A-6011-984D-BCFB-F6CEB17D7916}" dt="2023-09-04T12:20:00.130" v="4640" actId="167"/>
          <ac:spMkLst>
            <pc:docMk/>
            <pc:sldMk cId="2684949899" sldId="381"/>
            <ac:spMk id="21" creationId="{93A45347-9682-F38B-657F-B83ED58F5717}"/>
          </ac:spMkLst>
        </pc:spChg>
        <pc:spChg chg="add del mod">
          <ac:chgData name="Toby Lewis" userId="066a3a73-b684-4af0-a6ca-f0fee0166471" providerId="ADAL" clId="{F5F3857A-6011-984D-BCFB-F6CEB17D7916}" dt="2023-09-04T12:12:51.229" v="4635" actId="478"/>
          <ac:spMkLst>
            <pc:docMk/>
            <pc:sldMk cId="2684949899" sldId="381"/>
            <ac:spMk id="22" creationId="{852D3266-944C-4537-981C-D85C494D61D3}"/>
          </ac:spMkLst>
        </pc:spChg>
        <pc:grpChg chg="del">
          <ac:chgData name="Toby Lewis" userId="066a3a73-b684-4af0-a6ca-f0fee0166471" providerId="ADAL" clId="{F5F3857A-6011-984D-BCFB-F6CEB17D7916}" dt="2023-09-04T12:12:01.923" v="4549" actId="478"/>
          <ac:grpSpMkLst>
            <pc:docMk/>
            <pc:sldMk cId="2684949899" sldId="381"/>
            <ac:grpSpMk id="7" creationId="{FD0F38F0-F8D1-5D00-152F-E4118B9FD0EF}"/>
          </ac:grpSpMkLst>
        </pc:grpChg>
        <pc:picChg chg="add del mod">
          <ac:chgData name="Toby Lewis" userId="066a3a73-b684-4af0-a6ca-f0fee0166471" providerId="ADAL" clId="{F5F3857A-6011-984D-BCFB-F6CEB17D7916}" dt="2023-09-04T12:20:10.732" v="4700" actId="29295"/>
          <ac:picMkLst>
            <pc:docMk/>
            <pc:sldMk cId="2684949899" sldId="381"/>
            <ac:picMk id="24" creationId="{9F07E230-896A-1BE1-A4B4-77F3B8342EA4}"/>
          </ac:picMkLst>
        </pc:picChg>
        <pc:picChg chg="del">
          <ac:chgData name="Toby Lewis" userId="066a3a73-b684-4af0-a6ca-f0fee0166471" providerId="ADAL" clId="{F5F3857A-6011-984D-BCFB-F6CEB17D7916}" dt="2023-09-04T12:11:58.568" v="4546" actId="478"/>
          <ac:picMkLst>
            <pc:docMk/>
            <pc:sldMk cId="2684949899" sldId="381"/>
            <ac:picMk id="26" creationId="{6B58A275-8E4D-3DF4-933C-611801B66512}"/>
          </ac:picMkLst>
        </pc:picChg>
        <pc:picChg chg="add mod">
          <ac:chgData name="Toby Lewis" userId="066a3a73-b684-4af0-a6ca-f0fee0166471" providerId="ADAL" clId="{F5F3857A-6011-984D-BCFB-F6CEB17D7916}" dt="2023-09-04T12:21:40.700" v="4778" actId="29295"/>
          <ac:picMkLst>
            <pc:docMk/>
            <pc:sldMk cId="2684949899" sldId="381"/>
            <ac:picMk id="27" creationId="{3918D8A3-6C32-EBD3-8901-1DD4BB90902A}"/>
          </ac:picMkLst>
        </pc:picChg>
        <pc:picChg chg="del">
          <ac:chgData name="Toby Lewis" userId="066a3a73-b684-4af0-a6ca-f0fee0166471" providerId="ADAL" clId="{F5F3857A-6011-984D-BCFB-F6CEB17D7916}" dt="2023-09-04T12:11:59.528" v="4547" actId="478"/>
          <ac:picMkLst>
            <pc:docMk/>
            <pc:sldMk cId="2684949899" sldId="381"/>
            <ac:picMk id="28" creationId="{8B3092A4-489D-49FC-0D99-A42E4FF3E35B}"/>
          </ac:picMkLst>
        </pc:picChg>
        <pc:picChg chg="del">
          <ac:chgData name="Toby Lewis" userId="066a3a73-b684-4af0-a6ca-f0fee0166471" providerId="ADAL" clId="{F5F3857A-6011-984D-BCFB-F6CEB17D7916}" dt="2023-09-04T12:12:00.449" v="4548" actId="478"/>
          <ac:picMkLst>
            <pc:docMk/>
            <pc:sldMk cId="2684949899" sldId="381"/>
            <ac:picMk id="30" creationId="{F8CAD8B6-0741-5FFB-A2B1-3131547E2146}"/>
          </ac:picMkLst>
        </pc:picChg>
        <pc:picChg chg="add mod">
          <ac:chgData name="Toby Lewis" userId="066a3a73-b684-4af0-a6ca-f0fee0166471" providerId="ADAL" clId="{F5F3857A-6011-984D-BCFB-F6CEB17D7916}" dt="2023-09-04T12:23:10.081" v="4840" actId="29295"/>
          <ac:picMkLst>
            <pc:docMk/>
            <pc:sldMk cId="2684949899" sldId="381"/>
            <ac:picMk id="31" creationId="{09EEF764-30D2-4483-6572-8C63E37815F1}"/>
          </ac:picMkLst>
        </pc:picChg>
        <pc:picChg chg="del">
          <ac:chgData name="Toby Lewis" userId="066a3a73-b684-4af0-a6ca-f0fee0166471" providerId="ADAL" clId="{F5F3857A-6011-984D-BCFB-F6CEB17D7916}" dt="2023-09-04T12:11:54.214" v="4542" actId="478"/>
          <ac:picMkLst>
            <pc:docMk/>
            <pc:sldMk cId="2684949899" sldId="381"/>
            <ac:picMk id="32" creationId="{16F717EE-4343-9956-939C-BA28F381EC31}"/>
          </ac:picMkLst>
        </pc:picChg>
        <pc:picChg chg="del">
          <ac:chgData name="Toby Lewis" userId="066a3a73-b684-4af0-a6ca-f0fee0166471" providerId="ADAL" clId="{F5F3857A-6011-984D-BCFB-F6CEB17D7916}" dt="2023-09-04T12:11:55.350" v="4543" actId="478"/>
          <ac:picMkLst>
            <pc:docMk/>
            <pc:sldMk cId="2684949899" sldId="381"/>
            <ac:picMk id="34" creationId="{ABB01963-3667-5896-997A-F70AECE9420D}"/>
          </ac:picMkLst>
        </pc:picChg>
        <pc:picChg chg="add mod">
          <ac:chgData name="Toby Lewis" userId="066a3a73-b684-4af0-a6ca-f0fee0166471" providerId="ADAL" clId="{F5F3857A-6011-984D-BCFB-F6CEB17D7916}" dt="2023-09-04T12:26:12.919" v="4847" actId="29295"/>
          <ac:picMkLst>
            <pc:docMk/>
            <pc:sldMk cId="2684949899" sldId="381"/>
            <ac:picMk id="35" creationId="{35905036-B69B-230D-8D08-83B4B9A26E94}"/>
          </ac:picMkLst>
        </pc:picChg>
        <pc:picChg chg="del">
          <ac:chgData name="Toby Lewis" userId="066a3a73-b684-4af0-a6ca-f0fee0166471" providerId="ADAL" clId="{F5F3857A-6011-984D-BCFB-F6CEB17D7916}" dt="2023-09-04T12:11:57.448" v="4545" actId="478"/>
          <ac:picMkLst>
            <pc:docMk/>
            <pc:sldMk cId="2684949899" sldId="381"/>
            <ac:picMk id="36" creationId="{061CCF5B-D8FE-0C27-2EAD-B1DD54310A73}"/>
          </ac:picMkLst>
        </pc:picChg>
        <pc:picChg chg="del">
          <ac:chgData name="Toby Lewis" userId="066a3a73-b684-4af0-a6ca-f0fee0166471" providerId="ADAL" clId="{F5F3857A-6011-984D-BCFB-F6CEB17D7916}" dt="2023-09-04T12:11:56.432" v="4544" actId="478"/>
          <ac:picMkLst>
            <pc:docMk/>
            <pc:sldMk cId="2684949899" sldId="381"/>
            <ac:picMk id="41" creationId="{3C7FDDB4-BBB8-08B2-10E1-730DDE4B0BF7}"/>
          </ac:picMkLst>
        </pc:picChg>
        <pc:picChg chg="del">
          <ac:chgData name="Toby Lewis" userId="066a3a73-b684-4af0-a6ca-f0fee0166471" providerId="ADAL" clId="{F5F3857A-6011-984D-BCFB-F6CEB17D7916}" dt="2023-09-04T12:11:51.738" v="4540" actId="478"/>
          <ac:picMkLst>
            <pc:docMk/>
            <pc:sldMk cId="2684949899" sldId="381"/>
            <ac:picMk id="43" creationId="{2990B0AE-98CB-6CDB-7164-99AD3DD8DE5F}"/>
          </ac:picMkLst>
        </pc:picChg>
        <pc:picChg chg="del">
          <ac:chgData name="Toby Lewis" userId="066a3a73-b684-4af0-a6ca-f0fee0166471" providerId="ADAL" clId="{F5F3857A-6011-984D-BCFB-F6CEB17D7916}" dt="2023-09-04T12:11:53.034" v="4541" actId="478"/>
          <ac:picMkLst>
            <pc:docMk/>
            <pc:sldMk cId="2684949899" sldId="381"/>
            <ac:picMk id="45" creationId="{EED691F6-4E04-7E40-E435-2217BCA90C9C}"/>
          </ac:picMkLst>
        </pc:picChg>
      </pc:sldChg>
      <pc:sldChg chg="addSp delSp modSp add mod ord">
        <pc:chgData name="Toby Lewis" userId="066a3a73-b684-4af0-a6ca-f0fee0166471" providerId="ADAL" clId="{F5F3857A-6011-984D-BCFB-F6CEB17D7916}" dt="2023-09-04T14:22:55.305" v="6276" actId="20577"/>
        <pc:sldMkLst>
          <pc:docMk/>
          <pc:sldMk cId="1973886198" sldId="382"/>
        </pc:sldMkLst>
        <pc:spChg chg="add mod">
          <ac:chgData name="Toby Lewis" userId="066a3a73-b684-4af0-a6ca-f0fee0166471" providerId="ADAL" clId="{F5F3857A-6011-984D-BCFB-F6CEB17D7916}" dt="2023-09-04T12:53:22.046" v="6102" actId="14100"/>
          <ac:spMkLst>
            <pc:docMk/>
            <pc:sldMk cId="1973886198" sldId="382"/>
            <ac:spMk id="10" creationId="{9486C850-C5A6-F480-BFD8-3C2AEE8ABAA6}"/>
          </ac:spMkLst>
        </pc:spChg>
        <pc:spChg chg="add mod">
          <ac:chgData name="Toby Lewis" userId="066a3a73-b684-4af0-a6ca-f0fee0166471" providerId="ADAL" clId="{F5F3857A-6011-984D-BCFB-F6CEB17D7916}" dt="2023-09-04T14:22:55.305" v="6276" actId="20577"/>
          <ac:spMkLst>
            <pc:docMk/>
            <pc:sldMk cId="1973886198" sldId="382"/>
            <ac:spMk id="11" creationId="{53334AA8-59FD-D7D2-2A78-572682B68965}"/>
          </ac:spMkLst>
        </pc:spChg>
        <pc:spChg chg="del">
          <ac:chgData name="Toby Lewis" userId="066a3a73-b684-4af0-a6ca-f0fee0166471" providerId="ADAL" clId="{F5F3857A-6011-984D-BCFB-F6CEB17D7916}" dt="2023-09-04T12:51:50.790" v="5834" actId="478"/>
          <ac:spMkLst>
            <pc:docMk/>
            <pc:sldMk cId="1973886198" sldId="382"/>
            <ac:spMk id="14" creationId="{D2494D45-EB68-6292-243E-D90DA7E1D0A8}"/>
          </ac:spMkLst>
        </pc:spChg>
        <pc:spChg chg="mod">
          <ac:chgData name="Toby Lewis" userId="066a3a73-b684-4af0-a6ca-f0fee0166471" providerId="ADAL" clId="{F5F3857A-6011-984D-BCFB-F6CEB17D7916}" dt="2023-09-04T12:52:16.328" v="5892" actId="692"/>
          <ac:spMkLst>
            <pc:docMk/>
            <pc:sldMk cId="1973886198" sldId="382"/>
            <ac:spMk id="15" creationId="{9CF65A31-3065-ABF9-330B-998A5FB2F477}"/>
          </ac:spMkLst>
        </pc:spChg>
        <pc:spChg chg="del">
          <ac:chgData name="Toby Lewis" userId="066a3a73-b684-4af0-a6ca-f0fee0166471" providerId="ADAL" clId="{F5F3857A-6011-984D-BCFB-F6CEB17D7916}" dt="2023-09-04T12:52:10.332" v="5839" actId="478"/>
          <ac:spMkLst>
            <pc:docMk/>
            <pc:sldMk cId="1973886198" sldId="382"/>
            <ac:spMk id="16" creationId="{6CFBF5F6-2CC0-CD35-E95F-FE5430348416}"/>
          </ac:spMkLst>
        </pc:spChg>
        <pc:spChg chg="del">
          <ac:chgData name="Toby Lewis" userId="066a3a73-b684-4af0-a6ca-f0fee0166471" providerId="ADAL" clId="{F5F3857A-6011-984D-BCFB-F6CEB17D7916}" dt="2023-09-04T12:51:54.251" v="5835" actId="478"/>
          <ac:spMkLst>
            <pc:docMk/>
            <pc:sldMk cId="1973886198" sldId="382"/>
            <ac:spMk id="17" creationId="{C4C99BA0-9218-C55A-6FBF-C71F1A51E2E5}"/>
          </ac:spMkLst>
        </pc:spChg>
        <pc:spChg chg="mod">
          <ac:chgData name="Toby Lewis" userId="066a3a73-b684-4af0-a6ca-f0fee0166471" providerId="ADAL" clId="{F5F3857A-6011-984D-BCFB-F6CEB17D7916}" dt="2023-09-04T12:52:26.776" v="6072" actId="692"/>
          <ac:spMkLst>
            <pc:docMk/>
            <pc:sldMk cId="1973886198" sldId="382"/>
            <ac:spMk id="20" creationId="{3E1AA019-3BA7-B962-ABA7-5674A62B60B7}"/>
          </ac:spMkLst>
        </pc:spChg>
        <pc:spChg chg="mod">
          <ac:chgData name="Toby Lewis" userId="066a3a73-b684-4af0-a6ca-f0fee0166471" providerId="ADAL" clId="{F5F3857A-6011-984D-BCFB-F6CEB17D7916}" dt="2023-09-04T12:53:08.942" v="6099" actId="167"/>
          <ac:spMkLst>
            <pc:docMk/>
            <pc:sldMk cId="1973886198" sldId="382"/>
            <ac:spMk id="21" creationId="{93A45347-9682-F38B-657F-B83ED58F5717}"/>
          </ac:spMkLst>
        </pc:spChg>
        <pc:picChg chg="add del mod">
          <ac:chgData name="Toby Lewis" userId="066a3a73-b684-4af0-a6ca-f0fee0166471" providerId="ADAL" clId="{F5F3857A-6011-984D-BCFB-F6CEB17D7916}" dt="2023-09-04T12:51:47.949" v="5833" actId="171"/>
          <ac:picMkLst>
            <pc:docMk/>
            <pc:sldMk cId="1973886198" sldId="382"/>
            <ac:picMk id="7" creationId="{1696A3D2-541B-D80C-041E-A56663C64212}"/>
          </ac:picMkLst>
        </pc:picChg>
        <pc:picChg chg="add mod">
          <ac:chgData name="Toby Lewis" userId="066a3a73-b684-4af0-a6ca-f0fee0166471" providerId="ADAL" clId="{F5F3857A-6011-984D-BCFB-F6CEB17D7916}" dt="2023-09-04T12:52:02.361" v="5837" actId="167"/>
          <ac:picMkLst>
            <pc:docMk/>
            <pc:sldMk cId="1973886198" sldId="382"/>
            <ac:picMk id="9" creationId="{8DDF7BB2-2B5B-820A-4A00-D8B735FB88C8}"/>
          </ac:picMkLst>
        </pc:picChg>
        <pc:picChg chg="mod">
          <ac:chgData name="Toby Lewis" userId="066a3a73-b684-4af0-a6ca-f0fee0166471" providerId="ADAL" clId="{F5F3857A-6011-984D-BCFB-F6CEB17D7916}" dt="2023-09-04T12:53:14.778" v="6100" actId="167"/>
          <ac:picMkLst>
            <pc:docMk/>
            <pc:sldMk cId="1973886198" sldId="382"/>
            <ac:picMk id="32" creationId="{16F717EE-4343-9956-939C-BA28F381EC31}"/>
          </ac:picMkLst>
        </pc:picChg>
        <pc:picChg chg="mod">
          <ac:chgData name="Toby Lewis" userId="066a3a73-b684-4af0-a6ca-f0fee0166471" providerId="ADAL" clId="{F5F3857A-6011-984D-BCFB-F6CEB17D7916}" dt="2023-09-04T12:53:14.778" v="6100" actId="167"/>
          <ac:picMkLst>
            <pc:docMk/>
            <pc:sldMk cId="1973886198" sldId="382"/>
            <ac:picMk id="45" creationId="{EED691F6-4E04-7E40-E435-2217BCA90C9C}"/>
          </ac:picMkLst>
        </pc:picChg>
      </pc:sldChg>
      <pc:sldChg chg="addSp delSp modSp add del mod ord">
        <pc:chgData name="Toby Lewis" userId="066a3a73-b684-4af0-a6ca-f0fee0166471" providerId="ADAL" clId="{F5F3857A-6011-984D-BCFB-F6CEB17D7916}" dt="2023-09-04T12:49:39.692" v="5752" actId="2696"/>
        <pc:sldMkLst>
          <pc:docMk/>
          <pc:sldMk cId="3924676453" sldId="382"/>
        </pc:sldMkLst>
        <pc:spChg chg="mod">
          <ac:chgData name="Toby Lewis" userId="066a3a73-b684-4af0-a6ca-f0fee0166471" providerId="ADAL" clId="{F5F3857A-6011-984D-BCFB-F6CEB17D7916}" dt="2023-09-04T12:48:52.298" v="5711" actId="20577"/>
          <ac:spMkLst>
            <pc:docMk/>
            <pc:sldMk cId="3924676453" sldId="382"/>
            <ac:spMk id="6" creationId="{039496C1-60A5-4D03-9C78-04283CB74603}"/>
          </ac:spMkLst>
        </pc:spChg>
        <pc:spChg chg="add del">
          <ac:chgData name="Toby Lewis" userId="066a3a73-b684-4af0-a6ca-f0fee0166471" providerId="ADAL" clId="{F5F3857A-6011-984D-BCFB-F6CEB17D7916}" dt="2023-09-04T12:48:14.803" v="5695" actId="478"/>
          <ac:spMkLst>
            <pc:docMk/>
            <pc:sldMk cId="3924676453" sldId="382"/>
            <ac:spMk id="14" creationId="{D2494D45-EB68-6292-243E-D90DA7E1D0A8}"/>
          </ac:spMkLst>
        </pc:spChg>
      </pc:sldChg>
      <pc:sldChg chg="add ord">
        <pc:chgData name="Toby Lewis" userId="066a3a73-b684-4af0-a6ca-f0fee0166471" providerId="ADAL" clId="{F5F3857A-6011-984D-BCFB-F6CEB17D7916}" dt="2023-09-04T12:54:00.014" v="6125" actId="20578"/>
        <pc:sldMkLst>
          <pc:docMk/>
          <pc:sldMk cId="233192126" sldId="383"/>
        </pc:sldMkLst>
      </pc:sldChg>
      <pc:sldChg chg="modSp add mod">
        <pc:chgData name="Toby Lewis" userId="066a3a73-b684-4af0-a6ca-f0fee0166471" providerId="ADAL" clId="{F5F3857A-6011-984D-BCFB-F6CEB17D7916}" dt="2023-09-04T12:56:07.196" v="6146" actId="20577"/>
        <pc:sldMkLst>
          <pc:docMk/>
          <pc:sldMk cId="2712334707" sldId="384"/>
        </pc:sldMkLst>
        <pc:spChg chg="mod">
          <ac:chgData name="Toby Lewis" userId="066a3a73-b684-4af0-a6ca-f0fee0166471" providerId="ADAL" clId="{F5F3857A-6011-984D-BCFB-F6CEB17D7916}" dt="2023-09-04T12:56:07.196" v="6146" actId="20577"/>
          <ac:spMkLst>
            <pc:docMk/>
            <pc:sldMk cId="2712334707" sldId="384"/>
            <ac:spMk id="2" creationId="{B77A7244-3216-492D-9CB9-98FC4652A6A0}"/>
          </ac:spMkLst>
        </pc:spChg>
      </pc:sldChg>
      <pc:sldChg chg="add">
        <pc:chgData name="Toby Lewis" userId="066a3a73-b684-4af0-a6ca-f0fee0166471" providerId="ADAL" clId="{F5F3857A-6011-984D-BCFB-F6CEB17D7916}" dt="2023-09-04T12:56:30.533" v="6148"/>
        <pc:sldMkLst>
          <pc:docMk/>
          <pc:sldMk cId="1235007497" sldId="38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24E279-03E7-8A48-985A-2599DC96A6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095DB4-BC40-2D44-A7F4-ED534CFB9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300D6-5BD5-424C-B9B9-60E1BDCBA128}" type="datetimeFigureOut">
              <a:rPr lang="en-US" smtClean="0"/>
              <a:t>9/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4901C4-8D1A-B145-8DBE-B7C15594419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90885-681C-AF4F-A809-18D180E29F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D6A97-6D37-8942-BDF6-005B38E4E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47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988BBD-86F3-4045-AD7D-339EF4283663}" type="datetimeFigureOut">
              <a:rPr lang="en-GB" smtClean="0"/>
              <a:t>03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GB" dirty="0" err="1"/>
              <a:t>i</a:t>
            </a:r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7CEAC-4476-4BB5-8A2A-6D8764AE283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882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243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</a:t>
            </a:r>
            <a:r>
              <a:rPr lang="en-US" b="1" dirty="0"/>
              <a:t>should </a:t>
            </a:r>
            <a:r>
              <a:rPr lang="en-US" b="0" dirty="0"/>
              <a:t>be used version-&gt;environment-&gt;anaconda-&gt;</a:t>
            </a:r>
            <a:r>
              <a:rPr lang="en-US" b="0" dirty="0" err="1"/>
              <a:t>jupyter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86248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11633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NLP</a:t>
            </a:r>
          </a:p>
          <a:p>
            <a:r>
              <a:rPr lang="en-US" dirty="0"/>
              <a:t>- Access/DC models</a:t>
            </a:r>
          </a:p>
          <a:p>
            <a:r>
              <a:rPr lang="en-US" dirty="0"/>
              <a:t>- Ad-hoc analysis</a:t>
            </a:r>
          </a:p>
          <a:p>
            <a:r>
              <a:rPr lang="en-US" dirty="0"/>
              <a:t>- Increasingly integrating LLMs into workflow -&gt; restructure controls/help better link up network </a:t>
            </a:r>
          </a:p>
          <a:p>
            <a:r>
              <a:rPr lang="en-US" dirty="0"/>
              <a:t>	- </a:t>
            </a:r>
            <a:r>
              <a:rPr lang="en-US" dirty="0" err="1"/>
              <a:t>DataOps</a:t>
            </a:r>
            <a:r>
              <a:rPr lang="en-US" dirty="0"/>
              <a:t> tool</a:t>
            </a:r>
          </a:p>
          <a:p>
            <a:endParaRPr lang="en-US" dirty="0"/>
          </a:p>
          <a:p>
            <a:r>
              <a:rPr lang="en-US" dirty="0"/>
              <a:t>Metrics:</a:t>
            </a:r>
          </a:p>
          <a:p>
            <a:r>
              <a:rPr lang="en-US" dirty="0"/>
              <a:t>- Business Line Reason Code</a:t>
            </a:r>
          </a:p>
          <a:p>
            <a:r>
              <a:rPr lang="en-US" dirty="0"/>
              <a:t>- Control Impact Rating</a:t>
            </a:r>
          </a:p>
          <a:p>
            <a:r>
              <a:rPr lang="en-US" dirty="0"/>
              <a:t>- North Sta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35937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Embracing LLMs</a:t>
            </a:r>
          </a:p>
          <a:p>
            <a:r>
              <a:rPr lang="en-US" dirty="0"/>
              <a:t>- Improved Search</a:t>
            </a:r>
          </a:p>
          <a:p>
            <a:r>
              <a:rPr lang="en-US" dirty="0"/>
              <a:t>- Chatbot</a:t>
            </a:r>
          </a:p>
          <a:p>
            <a:r>
              <a:rPr lang="en-US" dirty="0"/>
              <a:t>- Report generation</a:t>
            </a:r>
          </a:p>
          <a:p>
            <a:r>
              <a:rPr lang="en-US" dirty="0"/>
              <a:t>- Reformatting controls:</a:t>
            </a:r>
          </a:p>
          <a:p>
            <a:r>
              <a:rPr lang="en-US" dirty="0"/>
              <a:t>	- Improved matching</a:t>
            </a:r>
          </a:p>
          <a:p>
            <a:r>
              <a:rPr lang="en-US" dirty="0"/>
              <a:t>	- Index bu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8294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Embracing LLMs</a:t>
            </a:r>
          </a:p>
          <a:p>
            <a:r>
              <a:rPr lang="en-US" dirty="0"/>
              <a:t>- Improved Search</a:t>
            </a:r>
          </a:p>
          <a:p>
            <a:r>
              <a:rPr lang="en-US" dirty="0"/>
              <a:t>- Chatbot</a:t>
            </a:r>
          </a:p>
          <a:p>
            <a:r>
              <a:rPr lang="en-US" dirty="0"/>
              <a:t>- Report generation</a:t>
            </a:r>
          </a:p>
          <a:p>
            <a:r>
              <a:rPr lang="en-US" dirty="0"/>
              <a:t>- Reformatting controls:</a:t>
            </a:r>
          </a:p>
          <a:p>
            <a:r>
              <a:rPr lang="en-US" dirty="0"/>
              <a:t>	- Improved matching</a:t>
            </a:r>
          </a:p>
          <a:p>
            <a:r>
              <a:rPr lang="en-US" dirty="0"/>
              <a:t>	- Index bu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6003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385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, C++, C#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Java, </a:t>
            </a:r>
            <a:r>
              <a:rPr lang="en-GB" dirty="0" err="1"/>
              <a:t>Javascrip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OCame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Ju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ub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yth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ata Management: SQL (and variants), M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cument: HTML, </a:t>
            </a:r>
            <a:r>
              <a:rPr lang="en-GB" dirty="0" err="1"/>
              <a:t>LaTex</a:t>
            </a:r>
            <a:r>
              <a:rPr lang="en-GB" dirty="0"/>
              <a:t>, Markd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hell: Bash, </a:t>
            </a:r>
            <a:r>
              <a:rPr lang="en-GB" dirty="0" err="1"/>
              <a:t>ZShel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umerical Computation: R, MATLAB, S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icrosoft Applications: VB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atistical Modelling: Stan, Bu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usic Synthesis: </a:t>
            </a:r>
            <a:r>
              <a:rPr lang="en-GB" dirty="0" err="1"/>
              <a:t>CSound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301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2635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nk of good multi-paradigm analogy – cleaning robo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0049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, DC (and nascent search part of </a:t>
            </a:r>
            <a:r>
              <a:rPr lang="en-US" dirty="0" err="1"/>
              <a:t>Acin</a:t>
            </a:r>
            <a:r>
              <a:rPr lang="en-US" dirty="0"/>
              <a:t> app) relies on some Python undernea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383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1112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789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789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9405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  <p:pic>
        <p:nvPicPr>
          <p:cNvPr id="15" name="Picture 1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4E87B7E4-0FEE-4C41-AD8F-BA55CD901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138" y="346973"/>
            <a:ext cx="5971808" cy="615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156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756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200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BDBABC2-C479-AF40-8A2A-5A5AEEF407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58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EB55681-6D94-0247-94F5-02D50AA0CA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93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8221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8CC0FF1-DF73-FB42-9CD7-388D680776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747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F191062-91D7-AD4E-8BB6-E8554C1C2B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7405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78CDB-CFA5-45E5-BCDE-3EF0AA4A24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8064569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4544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DE1030E-E6A9-4B20-B642-31CF5BB5A8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7350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EF24CC2-A99B-43A7-B3E8-B63F1ED46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97350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004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42A92684-B1EA-4259-B7B2-C96217D9D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30044" y="1784866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E86D4F4-148C-446E-9686-47AA152588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70531" y="1790702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2A081C6-9031-4554-91B0-FCFCA3976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9255" y="2528888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625ABAD0-4904-4B83-A034-1D61BBD66D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56386" y="2534762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36F3A11-F3EF-4AB4-8850-05CBE86F77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96873" y="2536191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5906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93B2B0C-ADEB-B44C-8B2A-BC4627B41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787" b="36896"/>
          <a:stretch/>
        </p:blipFill>
        <p:spPr>
          <a:xfrm>
            <a:off x="5523978" y="1613569"/>
            <a:ext cx="6668022" cy="52444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23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673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DB002A1-66E5-4346-BAF3-6297499F14C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264" y="1723908"/>
            <a:ext cx="5919057" cy="4215563"/>
          </a:xfrm>
          <a:custGeom>
            <a:avLst/>
            <a:gdLst>
              <a:gd name="connsiteX0" fmla="*/ 2055147 w 5919057"/>
              <a:gd name="connsiteY0" fmla="*/ 0 h 4215563"/>
              <a:gd name="connsiteX1" fmla="*/ 5919057 w 5919057"/>
              <a:gd name="connsiteY1" fmla="*/ 0 h 4215563"/>
              <a:gd name="connsiteX2" fmla="*/ 5919057 w 5919057"/>
              <a:gd name="connsiteY2" fmla="*/ 4215563 h 4215563"/>
              <a:gd name="connsiteX3" fmla="*/ 2055147 w 5919057"/>
              <a:gd name="connsiteY3" fmla="*/ 4215563 h 4215563"/>
              <a:gd name="connsiteX4" fmla="*/ 0 w 5919057"/>
              <a:gd name="connsiteY4" fmla="*/ 2107782 h 4215563"/>
              <a:gd name="connsiteX5" fmla="*/ 2055147 w 5919057"/>
              <a:gd name="connsiteY5" fmla="*/ 0 h 4215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9057" h="4215563">
                <a:moveTo>
                  <a:pt x="2055147" y="0"/>
                </a:moveTo>
                <a:lnTo>
                  <a:pt x="5919057" y="0"/>
                </a:lnTo>
                <a:lnTo>
                  <a:pt x="5919057" y="4215563"/>
                </a:lnTo>
                <a:lnTo>
                  <a:pt x="2055147" y="4215563"/>
                </a:lnTo>
                <a:cubicBezTo>
                  <a:pt x="920233" y="4215563"/>
                  <a:pt x="0" y="3271941"/>
                  <a:pt x="0" y="2107782"/>
                </a:cubicBezTo>
                <a:cubicBezTo>
                  <a:pt x="0" y="943623"/>
                  <a:pt x="920233" y="0"/>
                  <a:pt x="205514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9521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677B46E-A5E0-0C4B-A2D7-4CEB00C896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2143" y="1066241"/>
            <a:ext cx="5032404" cy="5032404"/>
          </a:xfrm>
          <a:custGeom>
            <a:avLst/>
            <a:gdLst>
              <a:gd name="connsiteX0" fmla="*/ 2516202 w 5032404"/>
              <a:gd name="connsiteY0" fmla="*/ 0 h 5032404"/>
              <a:gd name="connsiteX1" fmla="*/ 5032404 w 5032404"/>
              <a:gd name="connsiteY1" fmla="*/ 2516202 h 5032404"/>
              <a:gd name="connsiteX2" fmla="*/ 2516202 w 5032404"/>
              <a:gd name="connsiteY2" fmla="*/ 5032404 h 5032404"/>
              <a:gd name="connsiteX3" fmla="*/ 0 w 5032404"/>
              <a:gd name="connsiteY3" fmla="*/ 2516202 h 5032404"/>
              <a:gd name="connsiteX4" fmla="*/ 2516202 w 5032404"/>
              <a:gd name="connsiteY4" fmla="*/ 0 h 5032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32404" h="5032404">
                <a:moveTo>
                  <a:pt x="2516202" y="0"/>
                </a:moveTo>
                <a:cubicBezTo>
                  <a:pt x="3905862" y="0"/>
                  <a:pt x="5032404" y="1126542"/>
                  <a:pt x="5032404" y="2516202"/>
                </a:cubicBezTo>
                <a:cubicBezTo>
                  <a:pt x="5032404" y="3905862"/>
                  <a:pt x="3905862" y="5032404"/>
                  <a:pt x="2516202" y="5032404"/>
                </a:cubicBezTo>
                <a:cubicBezTo>
                  <a:pt x="1126542" y="5032404"/>
                  <a:pt x="0" y="3905862"/>
                  <a:pt x="0" y="2516202"/>
                </a:cubicBezTo>
                <a:cubicBezTo>
                  <a:pt x="0" y="1126542"/>
                  <a:pt x="1126542" y="0"/>
                  <a:pt x="251620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083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78CDB-CFA5-45E5-BCDE-3EF0AA4A2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2333847"/>
            <a:ext cx="5033327" cy="38431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685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08C495-95B2-42FB-9AF6-B88C071C69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A44EEFE-D280-47B5-80CD-77327AD5A3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92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42276C-98AA-4D0F-860E-713BF90006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92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215666-9218-45AE-88F8-EF7A6D982C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093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5B4FE60-C863-4B47-A93E-2AA4EDA682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093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67FC39C-2775-4BCF-97E0-CC4F7DEA1A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0994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6B1ACD7-B609-4735-BB11-D2D567E361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994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1612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6432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9183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AC2299EE-45D7-4F39-AAB1-7C651363511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308013" y="1925795"/>
            <a:ext cx="4132600" cy="4143699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3" name="Chart Placeholder 8">
            <a:extLst>
              <a:ext uri="{FF2B5EF4-FFF2-40B4-BE49-F238E27FC236}">
                <a16:creationId xmlns:a16="http://schemas.microsoft.com/office/drawing/2014/main" id="{72DF861A-B5D0-4C4E-94FF-17842306E6E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638698" y="1925794"/>
            <a:ext cx="4132600" cy="4143699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0118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C9CB9F0-422C-4EC1-AF31-5B9B277FF5EF}"/>
              </a:ext>
            </a:extLst>
          </p:cNvPr>
          <p:cNvSpPr/>
          <p:nvPr userDrawn="1"/>
        </p:nvSpPr>
        <p:spPr>
          <a:xfrm>
            <a:off x="447206" y="1445127"/>
            <a:ext cx="5499552" cy="3806154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9D38179-16BB-4365-B33B-30EAE1B608FA}"/>
              </a:ext>
            </a:extLst>
          </p:cNvPr>
          <p:cNvSpPr/>
          <p:nvPr userDrawn="1"/>
        </p:nvSpPr>
        <p:spPr>
          <a:xfrm>
            <a:off x="6245244" y="1445126"/>
            <a:ext cx="5499550" cy="3806154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269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72A4EC-E644-44E5-8E59-B6A7F8C74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9CCE1-06B5-4197-8997-969050DE8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1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, icon&#10;&#10;Description automatically generated">
            <a:extLst>
              <a:ext uri="{FF2B5EF4-FFF2-40B4-BE49-F238E27FC236}">
                <a16:creationId xmlns:a16="http://schemas.microsoft.com/office/drawing/2014/main" id="{FD80D38A-F601-0C4C-B827-B414AA559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1374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759CF1-3807-4A5E-9615-0F11D0C6E26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  <p:sp>
        <p:nvSpPr>
          <p:cNvPr id="26" name="Subtitle 2">
            <a:extLst>
              <a:ext uri="{FF2B5EF4-FFF2-40B4-BE49-F238E27FC236}">
                <a16:creationId xmlns:a16="http://schemas.microsoft.com/office/drawing/2014/main" id="{3C3A3CE0-42F8-DA47-8183-CBECFB8016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0F42057C-EC4A-3E4D-A6D3-7AF0B057D6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C32D836C-46A3-034D-9DB5-EE89AC57C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0816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759CF1-3807-4A5E-9615-0F11D0C6E26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3B2B0C-ADEB-B44C-8B2A-BC4627B41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787" b="36896"/>
          <a:stretch/>
        </p:blipFill>
        <p:spPr>
          <a:xfrm>
            <a:off x="5523978" y="1613569"/>
            <a:ext cx="6668022" cy="524443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7DC8D1D-C1C6-E648-9C40-4890F3261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E7058B2-8152-1548-985C-9368051307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5EF1C287-FED0-E94A-8E59-691098E1B0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C19B448C-280C-5640-AA82-A4C8271EF2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682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, icon&#10;&#10;Description automatically generated">
            <a:extLst>
              <a:ext uri="{FF2B5EF4-FFF2-40B4-BE49-F238E27FC236}">
                <a16:creationId xmlns:a16="http://schemas.microsoft.com/office/drawing/2014/main" id="{FD80D38A-F601-0C4C-B827-B414AA559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F3BC0C4-DE51-DE47-A9B2-DBDFF06D41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537CF92-F431-EC49-BABA-60F824046F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2CDEC953-F56B-FD4C-A1C5-4894AF872A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6DFB6C9A-E67C-D24C-903A-ED28A2EF31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903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757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255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800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483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8423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457F6C6B-FE35-4478-B3B5-1C98B42481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3" t="5693" r="30962" b="8524"/>
          <a:stretch/>
        </p:blipFill>
        <p:spPr>
          <a:xfrm>
            <a:off x="6435090" y="1691640"/>
            <a:ext cx="5756910" cy="51663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67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A070C86-B560-416F-BD0D-72EAB41FC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616088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A070C86-B560-416F-BD0D-72EAB41F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3FB7CB-3635-4F48-9FA3-112348C88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10E233-71C2-48E3-92F9-72BD622D6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333847"/>
            <a:ext cx="10910887" cy="38431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458B20-EAC1-42CD-BB14-3F91C64F58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3" y="6271316"/>
            <a:ext cx="4269478" cy="1988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79C034-4AC1-48C0-B2DB-97ED35BB6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547" y="6273433"/>
            <a:ext cx="516751" cy="1988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0"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8FFE0BFC-ADF4-4AC3-8BC8-B0DC34C046E3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3587" y="432965"/>
            <a:ext cx="283860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68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7" r:id="rId2"/>
    <p:sldLayoutId id="2147483688" r:id="rId3"/>
    <p:sldLayoutId id="2147483681" r:id="rId4"/>
    <p:sldLayoutId id="2147483654" r:id="rId5"/>
    <p:sldLayoutId id="2147483656" r:id="rId6"/>
    <p:sldLayoutId id="2147483657" r:id="rId7"/>
    <p:sldLayoutId id="2147483658" r:id="rId8"/>
    <p:sldLayoutId id="2147483671" r:id="rId9"/>
    <p:sldLayoutId id="2147483674" r:id="rId10"/>
    <p:sldLayoutId id="2147483659" r:id="rId11"/>
    <p:sldLayoutId id="2147483682" r:id="rId12"/>
    <p:sldLayoutId id="2147483684" r:id="rId13"/>
    <p:sldLayoutId id="2147483666" r:id="rId14"/>
    <p:sldLayoutId id="2147483685" r:id="rId15"/>
    <p:sldLayoutId id="2147483686" r:id="rId16"/>
    <p:sldLayoutId id="2147483650" r:id="rId17"/>
    <p:sldLayoutId id="2147483661" r:id="rId18"/>
    <p:sldLayoutId id="2147483660" r:id="rId19"/>
    <p:sldLayoutId id="2147483678" r:id="rId20"/>
    <p:sldLayoutId id="2147483679" r:id="rId21"/>
    <p:sldLayoutId id="2147483680" r:id="rId22"/>
    <p:sldLayoutId id="2147483664" r:id="rId23"/>
    <p:sldLayoutId id="2147483665" r:id="rId24"/>
    <p:sldLayoutId id="2147483667" r:id="rId25"/>
    <p:sldLayoutId id="2147483668" r:id="rId26"/>
    <p:sldLayoutId id="2147483670" r:id="rId27"/>
    <p:sldLayoutId id="2147483676" r:id="rId28"/>
    <p:sldLayoutId id="2147483655" r:id="rId29"/>
    <p:sldLayoutId id="2147483689" r:id="rId30"/>
    <p:sldLayoutId id="2147483690" r:id="rId31"/>
    <p:sldLayoutId id="2147483691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7063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8038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6213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686" userDrawn="1">
          <p15:clr>
            <a:srgbClr val="F26B43"/>
          </p15:clr>
        </p15:guide>
        <p15:guide id="6" orient="horz" pos="1298" userDrawn="1">
          <p15:clr>
            <a:srgbClr val="F26B43"/>
          </p15:clr>
        </p15:guide>
        <p15:guide id="7" orient="horz" pos="15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image" Target="../media/image12.png"/><Relationship Id="rId7" Type="http://schemas.openxmlformats.org/officeDocument/2006/relationships/image" Target="../media/image46.png"/><Relationship Id="rId12" Type="http://schemas.openxmlformats.org/officeDocument/2006/relationships/image" Target="../media/image51.svg"/><Relationship Id="rId17" Type="http://schemas.openxmlformats.org/officeDocument/2006/relationships/image" Target="../media/image56.svg"/><Relationship Id="rId2" Type="http://schemas.openxmlformats.org/officeDocument/2006/relationships/image" Target="../media/image11.jpeg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11" Type="http://schemas.openxmlformats.org/officeDocument/2006/relationships/image" Target="../media/image50.png"/><Relationship Id="rId5" Type="http://schemas.openxmlformats.org/officeDocument/2006/relationships/image" Target="../media/image14.png"/><Relationship Id="rId15" Type="http://schemas.openxmlformats.org/officeDocument/2006/relationships/image" Target="../media/image54.svg"/><Relationship Id="rId10" Type="http://schemas.openxmlformats.org/officeDocument/2006/relationships/image" Target="../media/image49.svg"/><Relationship Id="rId19" Type="http://schemas.openxmlformats.org/officeDocument/2006/relationships/image" Target="../media/image58.jpg"/><Relationship Id="rId4" Type="http://schemas.openxmlformats.org/officeDocument/2006/relationships/image" Target="../media/image1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image" Target="../media/image12.png"/><Relationship Id="rId7" Type="http://schemas.openxmlformats.org/officeDocument/2006/relationships/image" Target="../media/image46.png"/><Relationship Id="rId12" Type="http://schemas.openxmlformats.org/officeDocument/2006/relationships/image" Target="../media/image51.svg"/><Relationship Id="rId17" Type="http://schemas.openxmlformats.org/officeDocument/2006/relationships/image" Target="../media/image56.svg"/><Relationship Id="rId2" Type="http://schemas.openxmlformats.org/officeDocument/2006/relationships/image" Target="../media/image11.jpeg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11" Type="http://schemas.openxmlformats.org/officeDocument/2006/relationships/image" Target="../media/image50.png"/><Relationship Id="rId5" Type="http://schemas.openxmlformats.org/officeDocument/2006/relationships/image" Target="../media/image14.png"/><Relationship Id="rId15" Type="http://schemas.openxmlformats.org/officeDocument/2006/relationships/image" Target="../media/image54.svg"/><Relationship Id="rId10" Type="http://schemas.openxmlformats.org/officeDocument/2006/relationships/image" Target="../media/image49.svg"/><Relationship Id="rId19" Type="http://schemas.openxmlformats.org/officeDocument/2006/relationships/image" Target="../media/image58.jpg"/><Relationship Id="rId4" Type="http://schemas.openxmlformats.org/officeDocument/2006/relationships/image" Target="../media/image1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18" Type="http://schemas.openxmlformats.org/officeDocument/2006/relationships/image" Target="../media/image56.svg"/><Relationship Id="rId3" Type="http://schemas.openxmlformats.org/officeDocument/2006/relationships/image" Target="../media/image11.jpeg"/><Relationship Id="rId21" Type="http://schemas.openxmlformats.org/officeDocument/2006/relationships/image" Target="../media/image59.png"/><Relationship Id="rId7" Type="http://schemas.openxmlformats.org/officeDocument/2006/relationships/image" Target="../media/image1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4.svg"/><Relationship Id="rId20" Type="http://schemas.openxmlformats.org/officeDocument/2006/relationships/image" Target="../media/image58.jp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.png"/><Relationship Id="rId11" Type="http://schemas.openxmlformats.org/officeDocument/2006/relationships/image" Target="../media/image49.svg"/><Relationship Id="rId5" Type="http://schemas.openxmlformats.org/officeDocument/2006/relationships/image" Target="../media/image13.pn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image" Target="../media/image12.png"/><Relationship Id="rId9" Type="http://schemas.openxmlformats.org/officeDocument/2006/relationships/image" Target="../media/image47.svg"/><Relationship Id="rId1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naconda.com/free/anaconda/install/mac-os/" TargetMode="External"/><Relationship Id="rId2" Type="http://schemas.openxmlformats.org/officeDocument/2006/relationships/hyperlink" Target="https://docs.brew.sh/Homebrew-and-Python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0.png"/><Relationship Id="rId5" Type="http://schemas.openxmlformats.org/officeDocument/2006/relationships/hyperlink" Target="https://docs.anaconda.com/free/anaconda/install/windows/" TargetMode="External"/><Relationship Id="rId4" Type="http://schemas.openxmlformats.org/officeDocument/2006/relationships/hyperlink" Target="https://www.infoworld.com/article/3530140/how-to-install-python-the-smart-way.html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40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68.svg"/><Relationship Id="rId4" Type="http://schemas.openxmlformats.org/officeDocument/2006/relationships/image" Target="../media/image13.png"/><Relationship Id="rId9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5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9.png"/><Relationship Id="rId5" Type="http://schemas.openxmlformats.org/officeDocument/2006/relationships/image" Target="../media/image59.png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84.jpg"/><Relationship Id="rId4" Type="http://schemas.openxmlformats.org/officeDocument/2006/relationships/image" Target="../media/image83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mailto:toby.lewis@acin.com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Relationship Id="rId4" Type="http://schemas.openxmlformats.org/officeDocument/2006/relationships/hyperlink" Target="mailto:Kieran.baker@acin.com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4.png"/><Relationship Id="rId5" Type="http://schemas.openxmlformats.org/officeDocument/2006/relationships/image" Target="../media/image13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1.jpeg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1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5" Type="http://schemas.openxmlformats.org/officeDocument/2006/relationships/image" Target="../media/image20.png"/><Relationship Id="rId10" Type="http://schemas.openxmlformats.org/officeDocument/2006/relationships/image" Target="../media/image38.png"/><Relationship Id="rId4" Type="http://schemas.openxmlformats.org/officeDocument/2006/relationships/image" Target="../media/image19.png"/><Relationship Id="rId9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https://www.tiobe.com/tiobe-index/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11" Type="http://schemas.openxmlformats.org/officeDocument/2006/relationships/image" Target="../media/image44.svg"/><Relationship Id="rId5" Type="http://schemas.openxmlformats.org/officeDocument/2006/relationships/image" Target="../media/image16.png"/><Relationship Id="rId10" Type="http://schemas.openxmlformats.org/officeDocument/2006/relationships/image" Target="../media/image43.png"/><Relationship Id="rId4" Type="http://schemas.openxmlformats.org/officeDocument/2006/relationships/image" Target="../media/image39.gif"/><Relationship Id="rId9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98B76-A2AA-2C6F-4A04-97B60F52C0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914" y="1605593"/>
            <a:ext cx="7855267" cy="901589"/>
          </a:xfrm>
        </p:spPr>
        <p:txBody>
          <a:bodyPr/>
          <a:lstStyle/>
          <a:p>
            <a:r>
              <a:rPr lang="en-GB" b="1" dirty="0">
                <a:effectLst/>
                <a:latin typeface="Helvetica Neue" panose="02000503000000020004" pitchFamily="2" charset="0"/>
              </a:rPr>
              <a:t>Scale Up with Pyth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33A57D-2340-D870-69A5-F3A3E09811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4" y="2693468"/>
            <a:ext cx="4269478" cy="735532"/>
          </a:xfrm>
        </p:spPr>
        <p:txBody>
          <a:bodyPr>
            <a:normAutofit/>
          </a:bodyPr>
          <a:lstStyle/>
          <a:p>
            <a:r>
              <a:rPr lang="en-GB" sz="2400" b="1" dirty="0">
                <a:effectLst/>
                <a:latin typeface="Helvetica Neue" panose="02000503000000020004" pitchFamily="2" charset="0"/>
              </a:rPr>
              <a:t>Uncoiling </a:t>
            </a:r>
            <a:r>
              <a:rPr lang="en-GB" sz="2800" b="1" dirty="0">
                <a:effectLst/>
                <a:latin typeface="Helvetica Neue" panose="02000503000000020004" pitchFamily="2" charset="0"/>
              </a:rPr>
              <a:t>Python's</a:t>
            </a:r>
            <a:r>
              <a:rPr lang="en-GB" sz="2400" b="1" dirty="0">
                <a:effectLst/>
                <a:latin typeface="Helvetica Neue" panose="02000503000000020004" pitchFamily="2" charset="0"/>
              </a:rPr>
              <a:t> Basics</a:t>
            </a:r>
            <a:endParaRPr lang="en-US" sz="240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EB1316-8120-06FD-B90D-48FC3D2C9AE4}"/>
              </a:ext>
            </a:extLst>
          </p:cNvPr>
          <p:cNvSpPr txBox="1">
            <a:spLocks/>
          </p:cNvSpPr>
          <p:nvPr/>
        </p:nvSpPr>
        <p:spPr>
          <a:xfrm>
            <a:off x="442914" y="4884641"/>
            <a:ext cx="4269478" cy="7355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0" dirty="0">
                <a:latin typeface="Helvetica Neue" panose="02000503000000020004" pitchFamily="2" charset="0"/>
              </a:rPr>
              <a:t>Toby Lewis and Kieran Baker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367101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25A328C-EC29-ED96-3D4B-E4C13944C038}"/>
              </a:ext>
            </a:extLst>
          </p:cNvPr>
          <p:cNvSpPr txBox="1"/>
          <p:nvPr/>
        </p:nvSpPr>
        <p:spPr>
          <a:xfrm>
            <a:off x="609507" y="1654095"/>
            <a:ext cx="15397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asy To Use</a:t>
            </a:r>
          </a:p>
        </p:txBody>
      </p:sp>
      <p:sp>
        <p:nvSpPr>
          <p:cNvPr id="2052" name="Text Placeholder 7">
            <a:extLst>
              <a:ext uri="{FF2B5EF4-FFF2-40B4-BE49-F238E27FC236}">
                <a16:creationId xmlns:a16="http://schemas.microsoft.com/office/drawing/2014/main" id="{A477F890-7B2E-CD4F-44FB-1717DE42F5FD}"/>
              </a:ext>
            </a:extLst>
          </p:cNvPr>
          <p:cNvSpPr txBox="1">
            <a:spLocks/>
          </p:cNvSpPr>
          <p:nvPr/>
        </p:nvSpPr>
        <p:spPr>
          <a:xfrm>
            <a:off x="632178" y="1997255"/>
            <a:ext cx="5710384" cy="1374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High level</a:t>
            </a:r>
          </a:p>
          <a:p>
            <a:pPr marL="731838" lvl="1" indent="-285750">
              <a:lnSpc>
                <a:spcPct val="100000"/>
              </a:lnSpc>
              <a:buClr>
                <a:schemeClr val="accent1"/>
              </a:buClr>
            </a:pPr>
            <a:r>
              <a:rPr lang="en-GB" sz="1300" dirty="0"/>
              <a:t>English-like syntax</a:t>
            </a:r>
          </a:p>
          <a:p>
            <a:pPr marL="731838" lvl="1" indent="-285750">
              <a:lnSpc>
                <a:spcPct val="100000"/>
              </a:lnSpc>
              <a:buClr>
                <a:schemeClr val="accent1"/>
              </a:buClr>
            </a:pPr>
            <a:r>
              <a:rPr lang="en-GB" sz="1300" dirty="0"/>
              <a:t>Built-in forma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Free and open 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General purpo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300" b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29CC126-8EB1-1797-8DC2-007EFEBDF803}"/>
              </a:ext>
            </a:extLst>
          </p:cNvPr>
          <p:cNvSpPr txBox="1"/>
          <p:nvPr/>
        </p:nvSpPr>
        <p:spPr>
          <a:xfrm>
            <a:off x="615383" y="3522549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Multi-Paradigm</a:t>
            </a:r>
          </a:p>
        </p:txBody>
      </p:sp>
      <p:sp>
        <p:nvSpPr>
          <p:cNvPr id="2053" name="Text Placeholder 7">
            <a:extLst>
              <a:ext uri="{FF2B5EF4-FFF2-40B4-BE49-F238E27FC236}">
                <a16:creationId xmlns:a16="http://schemas.microsoft.com/office/drawing/2014/main" id="{CD3297F2-CE9B-4D6C-19CA-2136EA13C3B1}"/>
              </a:ext>
            </a:extLst>
          </p:cNvPr>
          <p:cNvSpPr txBox="1">
            <a:spLocks/>
          </p:cNvSpPr>
          <p:nvPr/>
        </p:nvSpPr>
        <p:spPr>
          <a:xfrm>
            <a:off x="632178" y="3909776"/>
            <a:ext cx="5710384" cy="1429176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  <a:lvl2pPr marL="44608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2pPr>
            <a:lvl3pPr marL="627063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3pPr>
            <a:lvl4pPr marL="80803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4pPr>
            <a:lvl5pPr marL="984250" indent="-176213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chemeClr val="accent2"/>
              </a:buClr>
            </a:pPr>
            <a:r>
              <a:rPr lang="en-GB" sz="1400" b="1" dirty="0"/>
              <a:t>Procedural: </a:t>
            </a:r>
            <a:r>
              <a:rPr lang="en-GB" sz="1400" i="1" dirty="0"/>
              <a:t>can </a:t>
            </a:r>
            <a:r>
              <a:rPr lang="en-GB" sz="1400" dirty="0"/>
              <a:t>explicitly write process as set of explicit step-by-step instructions</a:t>
            </a:r>
          </a:p>
          <a:p>
            <a:pPr>
              <a:buClr>
                <a:schemeClr val="accent2"/>
              </a:buClr>
            </a:pPr>
            <a:r>
              <a:rPr lang="en-GB" sz="1400" b="1" dirty="0"/>
              <a:t>Functional:</a:t>
            </a:r>
            <a:r>
              <a:rPr lang="en-GB" sz="1400" i="1" dirty="0"/>
              <a:t> can</a:t>
            </a:r>
            <a:r>
              <a:rPr lang="en-GB" sz="1400" dirty="0"/>
              <a:t> explicitly write process as series of reusable functions and execute appropriately</a:t>
            </a:r>
          </a:p>
          <a:p>
            <a:pPr>
              <a:buClr>
                <a:schemeClr val="accent2"/>
              </a:buClr>
            </a:pPr>
            <a:r>
              <a:rPr lang="en-GB" sz="1400" b="1" dirty="0"/>
              <a:t>Object Oriented</a:t>
            </a:r>
            <a:r>
              <a:rPr lang="en-GB" sz="1400" dirty="0"/>
              <a:t>: code structured around abstract ‘objects’ that contain data and associated method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30748F-2895-AF09-11EC-D0326956D05D}"/>
              </a:ext>
            </a:extLst>
          </p:cNvPr>
          <p:cNvCxnSpPr>
            <a:cxnSpLocks/>
          </p:cNvCxnSpPr>
          <p:nvPr/>
        </p:nvCxnSpPr>
        <p:spPr>
          <a:xfrm>
            <a:off x="586836" y="1640572"/>
            <a:ext cx="0" cy="1650318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FB73B2-5D9B-ECE4-F146-1852667CB14C}"/>
              </a:ext>
            </a:extLst>
          </p:cNvPr>
          <p:cNvCxnSpPr>
            <a:cxnSpLocks/>
          </p:cNvCxnSpPr>
          <p:nvPr/>
        </p:nvCxnSpPr>
        <p:spPr>
          <a:xfrm>
            <a:off x="586836" y="3522549"/>
            <a:ext cx="0" cy="1776815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5924C5-CA64-54F8-3B5A-F2A3576C8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3" y="6271316"/>
            <a:ext cx="4269478" cy="198831"/>
          </a:xfrm>
        </p:spPr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C18855-5D83-6BEE-00ED-810361748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547" y="6273433"/>
            <a:ext cx="516751" cy="198831"/>
          </a:xfrm>
        </p:spPr>
        <p:txBody>
          <a:bodyPr/>
          <a:lstStyle/>
          <a:p>
            <a:fld id="{013B09BF-364E-466A-B49B-E1E59D9EB191}" type="slidenum">
              <a:rPr lang="en-GB" smtClean="0"/>
              <a:t>10</a:t>
            </a:fld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2EDB9A3-BD53-3257-0B42-0818B3EE3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950E3FA-F5CA-7471-D5FC-501E7E6F9D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673136"/>
            <a:ext cx="8064569" cy="417927"/>
          </a:xfrm>
        </p:spPr>
        <p:txBody>
          <a:bodyPr/>
          <a:lstStyle/>
          <a:p>
            <a:r>
              <a:rPr lang="en-GB" dirty="0"/>
              <a:t>But, why?</a:t>
            </a:r>
          </a:p>
        </p:txBody>
      </p:sp>
      <p:pic>
        <p:nvPicPr>
          <p:cNvPr id="11" name="Picture 10" descr="A cartoon robot with many hands&#10;&#10;Description automatically generated">
            <a:extLst>
              <a:ext uri="{FF2B5EF4-FFF2-40B4-BE49-F238E27FC236}">
                <a16:creationId xmlns:a16="http://schemas.microsoft.com/office/drawing/2014/main" id="{F00524B3-10FC-8506-AB35-0FC339655D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0372" y="1640572"/>
            <a:ext cx="2884045" cy="2884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3881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Notable use cas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0F38F0-F8D1-5D00-152F-E4118B9FD0EF}"/>
              </a:ext>
            </a:extLst>
          </p:cNvPr>
          <p:cNvGrpSpPr/>
          <p:nvPr/>
        </p:nvGrpSpPr>
        <p:grpSpPr>
          <a:xfrm>
            <a:off x="7466279" y="1248429"/>
            <a:ext cx="1500733" cy="1729811"/>
            <a:chOff x="7959114" y="3229690"/>
            <a:chExt cx="1500733" cy="1729811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F61288BA-174A-4846-4589-4289D228D5A7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>
                  <a:alpha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Java logo and symbol, meaning, history, PNG">
              <a:extLst>
                <a:ext uri="{FF2B5EF4-FFF2-40B4-BE49-F238E27FC236}">
                  <a16:creationId xmlns:a16="http://schemas.microsoft.com/office/drawing/2014/main" id="{FDD04A44-6C55-D8AB-6A07-C06EDF1644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0" descr="Spotify logo transparent PNG 22100989 PNG">
              <a:extLst>
                <a:ext uri="{FF2B5EF4-FFF2-40B4-BE49-F238E27FC236}">
                  <a16:creationId xmlns:a16="http://schemas.microsoft.com/office/drawing/2014/main" id="{F08FB150-597F-86DB-8698-78F61D151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3EC2B068-A8CF-F506-AC36-4821BF3BF5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4" descr="Scala logo">
              <a:extLst>
                <a:ext uri="{FF2B5EF4-FFF2-40B4-BE49-F238E27FC236}">
                  <a16:creationId xmlns:a16="http://schemas.microsoft.com/office/drawing/2014/main" id="{A36DE8CF-6E50-4449-207E-E3C8929C74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422154-19E5-36C0-D7F6-EE5BD3238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25000"/>
            </a:blip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6B58A275-8E4D-3DF4-933C-611801B6651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2119" y="1121416"/>
            <a:ext cx="788365" cy="78836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B3092A4-489D-49FC-0D99-A42E4FF3E35B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29444" y="2017372"/>
            <a:ext cx="593714" cy="55660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8CAD8B6-0741-5FFB-A2B1-3131547E2146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89657" y="2721115"/>
            <a:ext cx="730827" cy="730827"/>
          </a:xfrm>
          <a:prstGeom prst="rect">
            <a:avLst/>
          </a:prstGeom>
        </p:spPr>
      </p:pic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684" y="4839627"/>
            <a:ext cx="2540130" cy="12700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BB01963-3667-5896-997A-F70AECE9420D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82704" y="3811956"/>
            <a:ext cx="1875559" cy="67449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61CCF5B-D8FE-0C27-2EAD-B1DD54310A73}"/>
              </a:ext>
            </a:extLst>
          </p:cNvPr>
          <p:cNvPicPr>
            <a:picLocks noChangeAspect="1"/>
          </p:cNvPicPr>
          <p:nvPr/>
        </p:nvPicPr>
        <p:blipFill>
          <a:blip r:embed="rId16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65591" y="4362000"/>
            <a:ext cx="848871" cy="1161776"/>
          </a:xfrm>
          <a:prstGeom prst="rect">
            <a:avLst/>
          </a:prstGeom>
        </p:spPr>
      </p:pic>
      <p:pic>
        <p:nvPicPr>
          <p:cNvPr id="41" name="Picture 40" descr="A grey and gold text&#10;&#10;Description automatically generated">
            <a:extLst>
              <a:ext uri="{FF2B5EF4-FFF2-40B4-BE49-F238E27FC236}">
                <a16:creationId xmlns:a16="http://schemas.microsoft.com/office/drawing/2014/main" id="{3C7FDDB4-BBB8-08B2-10E1-730DDE4B0BF7}"/>
              </a:ext>
            </a:extLst>
          </p:cNvPr>
          <p:cNvPicPr>
            <a:picLocks noChangeAspect="1"/>
          </p:cNvPicPr>
          <p:nvPr/>
        </p:nvPicPr>
        <p:blipFill>
          <a:blip r:embed="rId18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287" y="4895459"/>
            <a:ext cx="2461603" cy="579201"/>
          </a:xfrm>
          <a:prstGeom prst="rect">
            <a:avLst/>
          </a:prstGeom>
        </p:spPr>
      </p:pic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19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20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296" y="3703464"/>
            <a:ext cx="1191995" cy="11919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2050612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App Develop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720396" y="4516461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Game Develop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362000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Machine Learning and N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1934994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Data Analysis and Visualization</a:t>
            </a:r>
          </a:p>
        </p:txBody>
      </p:sp>
    </p:spTree>
    <p:extLst>
      <p:ext uri="{BB962C8B-B14F-4D97-AF65-F5344CB8AC3E}">
        <p14:creationId xmlns:p14="http://schemas.microsoft.com/office/powerpoint/2010/main" val="2215153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Notable use cas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0F38F0-F8D1-5D00-152F-E4118B9FD0EF}"/>
              </a:ext>
            </a:extLst>
          </p:cNvPr>
          <p:cNvGrpSpPr/>
          <p:nvPr/>
        </p:nvGrpSpPr>
        <p:grpSpPr>
          <a:xfrm>
            <a:off x="7466279" y="1248429"/>
            <a:ext cx="1500733" cy="1729811"/>
            <a:chOff x="7959114" y="3229690"/>
            <a:chExt cx="1500733" cy="1729811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F61288BA-174A-4846-4589-4289D228D5A7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Java logo and symbol, meaning, history, PNG">
              <a:extLst>
                <a:ext uri="{FF2B5EF4-FFF2-40B4-BE49-F238E27FC236}">
                  <a16:creationId xmlns:a16="http://schemas.microsoft.com/office/drawing/2014/main" id="{FDD04A44-6C55-D8AB-6A07-C06EDF1644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0" descr="Spotify logo transparent PNG 22100989 PNG">
              <a:extLst>
                <a:ext uri="{FF2B5EF4-FFF2-40B4-BE49-F238E27FC236}">
                  <a16:creationId xmlns:a16="http://schemas.microsoft.com/office/drawing/2014/main" id="{F08FB150-597F-86DB-8698-78F61D151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3EC2B068-A8CF-F506-AC36-4821BF3BF5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4" descr="Scala logo">
              <a:extLst>
                <a:ext uri="{FF2B5EF4-FFF2-40B4-BE49-F238E27FC236}">
                  <a16:creationId xmlns:a16="http://schemas.microsoft.com/office/drawing/2014/main" id="{A36DE8CF-6E50-4449-207E-E3C8929C74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422154-19E5-36C0-D7F6-EE5BD3238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6B58A275-8E4D-3DF4-933C-611801B665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2119" y="1121416"/>
            <a:ext cx="788365" cy="78836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B3092A4-489D-49FC-0D99-A42E4FF3E35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29444" y="2017372"/>
            <a:ext cx="593714" cy="55660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8CAD8B6-0741-5FFB-A2B1-3131547E214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89657" y="2721115"/>
            <a:ext cx="730827" cy="730827"/>
          </a:xfrm>
          <a:prstGeom prst="rect">
            <a:avLst/>
          </a:prstGeom>
        </p:spPr>
      </p:pic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684" y="4839627"/>
            <a:ext cx="2540130" cy="12700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BB01963-3667-5896-997A-F70AECE9420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82704" y="3811956"/>
            <a:ext cx="1875559" cy="67449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61CCF5B-D8FE-0C27-2EAD-B1DD54310A7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65591" y="4362000"/>
            <a:ext cx="848871" cy="1161776"/>
          </a:xfrm>
          <a:prstGeom prst="rect">
            <a:avLst/>
          </a:prstGeom>
        </p:spPr>
      </p:pic>
      <p:pic>
        <p:nvPicPr>
          <p:cNvPr id="41" name="Picture 40" descr="A grey and gold text&#10;&#10;Description automatically generated">
            <a:extLst>
              <a:ext uri="{FF2B5EF4-FFF2-40B4-BE49-F238E27FC236}">
                <a16:creationId xmlns:a16="http://schemas.microsoft.com/office/drawing/2014/main" id="{3C7FDDB4-BBB8-08B2-10E1-730DDE4B0BF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287" y="4895459"/>
            <a:ext cx="2461603" cy="579201"/>
          </a:xfrm>
          <a:prstGeom prst="rect">
            <a:avLst/>
          </a:prstGeom>
        </p:spPr>
      </p:pic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296" y="3703464"/>
            <a:ext cx="1191995" cy="1191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885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4C8B580-970E-7B6A-2AB6-E64B9F84133F}"/>
              </a:ext>
            </a:extLst>
          </p:cNvPr>
          <p:cNvSpPr/>
          <p:nvPr/>
        </p:nvSpPr>
        <p:spPr>
          <a:xfrm>
            <a:off x="2407022" y="954157"/>
            <a:ext cx="3399076" cy="531715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Notable use cas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0F38F0-F8D1-5D00-152F-E4118B9FD0EF}"/>
              </a:ext>
            </a:extLst>
          </p:cNvPr>
          <p:cNvGrpSpPr/>
          <p:nvPr/>
        </p:nvGrpSpPr>
        <p:grpSpPr>
          <a:xfrm>
            <a:off x="7466279" y="1248429"/>
            <a:ext cx="1500733" cy="1729811"/>
            <a:chOff x="7959114" y="3229690"/>
            <a:chExt cx="1500733" cy="1729811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F61288BA-174A-4846-4589-4289D228D5A7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>
                  <a:alpha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Java logo and symbol, meaning, history, PNG">
              <a:extLst>
                <a:ext uri="{FF2B5EF4-FFF2-40B4-BE49-F238E27FC236}">
                  <a16:creationId xmlns:a16="http://schemas.microsoft.com/office/drawing/2014/main" id="{FDD04A44-6C55-D8AB-6A07-C06EDF1644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0" descr="Spotify logo transparent PNG 22100989 PNG">
              <a:extLst>
                <a:ext uri="{FF2B5EF4-FFF2-40B4-BE49-F238E27FC236}">
                  <a16:creationId xmlns:a16="http://schemas.microsoft.com/office/drawing/2014/main" id="{F08FB150-597F-86DB-8698-78F61D151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3EC2B068-A8CF-F506-AC36-4821BF3BF5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4" descr="Scala logo">
              <a:extLst>
                <a:ext uri="{FF2B5EF4-FFF2-40B4-BE49-F238E27FC236}">
                  <a16:creationId xmlns:a16="http://schemas.microsoft.com/office/drawing/2014/main" id="{A36DE8CF-6E50-4449-207E-E3C8929C74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422154-19E5-36C0-D7F6-EE5BD3238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000"/>
            </a:blip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6B58A275-8E4D-3DF4-933C-611801B6651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2119" y="1121416"/>
            <a:ext cx="788365" cy="78836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B3092A4-489D-49FC-0D99-A42E4FF3E35B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9444" y="2017372"/>
            <a:ext cx="593714" cy="55660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8CAD8B6-0741-5FFB-A2B1-3131547E2146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89657" y="2721115"/>
            <a:ext cx="730827" cy="730827"/>
          </a:xfrm>
          <a:prstGeom prst="rect">
            <a:avLst/>
          </a:prstGeom>
        </p:spPr>
      </p:pic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684" y="4839627"/>
            <a:ext cx="2540130" cy="12700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BB01963-3667-5896-997A-F70AECE9420D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182704" y="3811956"/>
            <a:ext cx="1875559" cy="67449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61CCF5B-D8FE-0C27-2EAD-B1DD54310A73}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65591" y="4362000"/>
            <a:ext cx="848871" cy="1161776"/>
          </a:xfrm>
          <a:prstGeom prst="rect">
            <a:avLst/>
          </a:prstGeom>
        </p:spPr>
      </p:pic>
      <p:pic>
        <p:nvPicPr>
          <p:cNvPr id="41" name="Picture 40" descr="A grey and gold text&#10;&#10;Description automatically generated">
            <a:extLst>
              <a:ext uri="{FF2B5EF4-FFF2-40B4-BE49-F238E27FC236}">
                <a16:creationId xmlns:a16="http://schemas.microsoft.com/office/drawing/2014/main" id="{3C7FDDB4-BBB8-08B2-10E1-730DDE4B0BF7}"/>
              </a:ext>
            </a:extLst>
          </p:cNvPr>
          <p:cNvPicPr>
            <a:picLocks noChangeAspect="1"/>
          </p:cNvPicPr>
          <p:nvPr/>
        </p:nvPicPr>
        <p:blipFill>
          <a:blip r:embed="rId19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287" y="4895459"/>
            <a:ext cx="2461603" cy="579201"/>
          </a:xfrm>
          <a:prstGeom prst="rect">
            <a:avLst/>
          </a:prstGeom>
        </p:spPr>
      </p:pic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20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21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296" y="3703464"/>
            <a:ext cx="1191995" cy="11919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2050612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App Develop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720396" y="4516461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Game Develop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362000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Machine Learning and N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1934994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Data Analysis and Visualization</a:t>
            </a:r>
          </a:p>
        </p:txBody>
      </p:sp>
    </p:spTree>
    <p:extLst>
      <p:ext uri="{BB962C8B-B14F-4D97-AF65-F5344CB8AC3E}">
        <p14:creationId xmlns:p14="http://schemas.microsoft.com/office/powerpoint/2010/main" val="19264589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we start using i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38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ere is it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FDD419-9D08-3957-77C4-8DFC0766122B}"/>
              </a:ext>
            </a:extLst>
          </p:cNvPr>
          <p:cNvSpPr txBox="1"/>
          <p:nvPr/>
        </p:nvSpPr>
        <p:spPr>
          <a:xfrm>
            <a:off x="615383" y="1323538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Mac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953E490-0CAC-140A-3501-D42519B16D75}"/>
              </a:ext>
            </a:extLst>
          </p:cNvPr>
          <p:cNvSpPr txBox="1">
            <a:spLocks/>
          </p:cNvSpPr>
          <p:nvPr/>
        </p:nvSpPr>
        <p:spPr>
          <a:xfrm>
            <a:off x="632178" y="1618724"/>
            <a:ext cx="3384847" cy="18102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 dirty="0"/>
              <a:t>Installed naively but can also use with </a:t>
            </a:r>
            <a:r>
              <a:rPr lang="en-GB" sz="1300" dirty="0">
                <a:hlinkClick r:id="rId2"/>
              </a:rPr>
              <a:t>Homebrew</a:t>
            </a:r>
            <a:endParaRPr lang="en-GB" sz="13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 dirty="0"/>
              <a:t>Easiest to install new versions via Termin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 dirty="0"/>
              <a:t>Can manage packages within </a:t>
            </a:r>
            <a:r>
              <a:rPr lang="en-GB" sz="1300" dirty="0">
                <a:hlinkClick r:id="rId3"/>
              </a:rPr>
              <a:t>Anaconda</a:t>
            </a:r>
            <a:r>
              <a:rPr lang="en-GB" sz="1300" dirty="0"/>
              <a:t>/Homebrew and/or oth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3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5D90C5B-6DFA-4AFC-2A5F-CB26969D50E3}"/>
              </a:ext>
            </a:extLst>
          </p:cNvPr>
          <p:cNvSpPr txBox="1"/>
          <p:nvPr/>
        </p:nvSpPr>
        <p:spPr>
          <a:xfrm>
            <a:off x="615383" y="3522549"/>
            <a:ext cx="11957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ndow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B81D737-FC82-F7A3-5E6F-FB66D3D92193}"/>
              </a:ext>
            </a:extLst>
          </p:cNvPr>
          <p:cNvSpPr txBox="1">
            <a:spLocks/>
          </p:cNvSpPr>
          <p:nvPr/>
        </p:nvSpPr>
        <p:spPr>
          <a:xfrm>
            <a:off x="632178" y="3909776"/>
            <a:ext cx="3430188" cy="14291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  <a:lvl2pPr marL="44608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2pPr>
            <a:lvl3pPr marL="627063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3pPr>
            <a:lvl4pPr marL="80803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4pPr>
            <a:lvl5pPr marL="984250" indent="-176213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User </a:t>
            </a:r>
            <a:r>
              <a:rPr lang="en-GB" sz="1300" dirty="0">
                <a:hlinkClick r:id="rId4"/>
              </a:rPr>
              <a:t>install</a:t>
            </a:r>
            <a:r>
              <a:rPr lang="en-GB" sz="1300" dirty="0"/>
              <a:t>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Can update version via Windows Installer or Command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Can manage packages within </a:t>
            </a:r>
            <a:r>
              <a:rPr lang="en-GB" sz="1300" dirty="0">
                <a:hlinkClick r:id="rId5"/>
              </a:rPr>
              <a:t>Anaconda</a:t>
            </a:r>
            <a:r>
              <a:rPr lang="en-GB" sz="1300" dirty="0"/>
              <a:t>  and/or other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A9925D-B6AF-6580-33CE-FB78201F1CB9}"/>
              </a:ext>
            </a:extLst>
          </p:cNvPr>
          <p:cNvCxnSpPr>
            <a:cxnSpLocks/>
          </p:cNvCxnSpPr>
          <p:nvPr/>
        </p:nvCxnSpPr>
        <p:spPr>
          <a:xfrm>
            <a:off x="586836" y="1323538"/>
            <a:ext cx="0" cy="2047792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0B045C-B664-22A7-F966-D94D742C40EB}"/>
              </a:ext>
            </a:extLst>
          </p:cNvPr>
          <p:cNvCxnSpPr>
            <a:cxnSpLocks/>
          </p:cNvCxnSpPr>
          <p:nvPr/>
        </p:nvCxnSpPr>
        <p:spPr>
          <a:xfrm>
            <a:off x="586836" y="3522549"/>
            <a:ext cx="0" cy="172486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A screenshot of a computer&#10;&#10;Description automatically generated">
            <a:extLst>
              <a:ext uri="{FF2B5EF4-FFF2-40B4-BE49-F238E27FC236}">
                <a16:creationId xmlns:a16="http://schemas.microsoft.com/office/drawing/2014/main" id="{7606B741-758E-649C-6479-53E3B189F7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2366" y="1175173"/>
            <a:ext cx="7994344" cy="439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215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6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- Terminal</a:t>
            </a:r>
          </a:p>
        </p:txBody>
      </p:sp>
      <p:pic>
        <p:nvPicPr>
          <p:cNvPr id="8" name="Picture 7" descr="A computer screen shot of a computer program&#10;&#10;Description automatically generated">
            <a:extLst>
              <a:ext uri="{FF2B5EF4-FFF2-40B4-BE49-F238E27FC236}">
                <a16:creationId xmlns:a16="http://schemas.microsoft.com/office/drawing/2014/main" id="{55B20936-826F-FCD5-621E-FACBA3FF74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9200" y="1466850"/>
            <a:ext cx="721360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7341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7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– Other Anaconda IDEs</a:t>
            </a:r>
          </a:p>
        </p:txBody>
      </p:sp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0215B23D-B154-BD41-7D25-A728C55967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334224"/>
            <a:ext cx="7772400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746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8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- App Integrations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BCB37C2-0978-F02A-F620-3B2D165733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3154" y="1334224"/>
            <a:ext cx="7772400" cy="3998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5365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- </a:t>
            </a:r>
            <a:r>
              <a:rPr lang="en-GB" dirty="0" err="1"/>
              <a:t>Jupyter</a:t>
            </a:r>
            <a:r>
              <a:rPr lang="en-GB" dirty="0"/>
              <a:t> Notebooks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592B4B76-C67D-40FB-9E79-0CC3810F15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259041"/>
            <a:ext cx="7772400" cy="4339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532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CDD84-4FA0-02BE-444E-B88E8E91A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49274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C8E8DE-A0AE-4F23-9E4A-87181C0C5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472A9-1071-9937-39EB-3208D8B0C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</a:t>
            </a:fld>
            <a:endParaRPr lang="en-GB" dirty="0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59F68DE-6E7E-3246-2671-C5420BE3F2B3}"/>
              </a:ext>
            </a:extLst>
          </p:cNvPr>
          <p:cNvSpPr/>
          <p:nvPr/>
        </p:nvSpPr>
        <p:spPr>
          <a:xfrm>
            <a:off x="537210" y="1175940"/>
            <a:ext cx="10972800" cy="1257300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6E9DF78-DC98-FA5F-22A0-529CE7C3244C}"/>
              </a:ext>
            </a:extLst>
          </p:cNvPr>
          <p:cNvSpPr/>
          <p:nvPr/>
        </p:nvSpPr>
        <p:spPr>
          <a:xfrm>
            <a:off x="537210" y="4087576"/>
            <a:ext cx="10972800" cy="431560"/>
          </a:xfrm>
          <a:prstGeom prst="roundRect">
            <a:avLst>
              <a:gd name="adj" fmla="val 37855"/>
            </a:avLst>
          </a:prstGeom>
          <a:solidFill>
            <a:schemeClr val="bg1">
              <a:lumMod val="95000"/>
            </a:schemeClr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BREAK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67D5C0C-4111-3651-C7CE-5821593E05CF}"/>
              </a:ext>
            </a:extLst>
          </p:cNvPr>
          <p:cNvSpPr/>
          <p:nvPr/>
        </p:nvSpPr>
        <p:spPr>
          <a:xfrm>
            <a:off x="537210" y="2631758"/>
            <a:ext cx="10972800" cy="1257300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C099BD68-4709-0196-3C09-E3D91026418C}"/>
              </a:ext>
            </a:extLst>
          </p:cNvPr>
          <p:cNvSpPr/>
          <p:nvPr/>
        </p:nvSpPr>
        <p:spPr>
          <a:xfrm>
            <a:off x="537210" y="4717655"/>
            <a:ext cx="10972800" cy="1257300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F42FFB-2562-A460-3FF9-2C173952E6C5}"/>
              </a:ext>
            </a:extLst>
          </p:cNvPr>
          <p:cNvSpPr txBox="1"/>
          <p:nvPr/>
        </p:nvSpPr>
        <p:spPr>
          <a:xfrm>
            <a:off x="2228850" y="1646171"/>
            <a:ext cx="1992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hat is Python?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F2590C0-6D2D-A2E2-56AA-B8FD483C891A}"/>
              </a:ext>
            </a:extLst>
          </p:cNvPr>
          <p:cNvCxnSpPr/>
          <p:nvPr/>
        </p:nvCxnSpPr>
        <p:spPr>
          <a:xfrm>
            <a:off x="2011680" y="1175940"/>
            <a:ext cx="0" cy="12573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56389DA-3EF5-A386-4972-E78E8B8126F7}"/>
              </a:ext>
            </a:extLst>
          </p:cNvPr>
          <p:cNvCxnSpPr/>
          <p:nvPr/>
        </p:nvCxnSpPr>
        <p:spPr>
          <a:xfrm>
            <a:off x="2011680" y="2631758"/>
            <a:ext cx="0" cy="12573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4B25963-6190-0240-AA83-1C37FBAE16E3}"/>
              </a:ext>
            </a:extLst>
          </p:cNvPr>
          <p:cNvCxnSpPr/>
          <p:nvPr/>
        </p:nvCxnSpPr>
        <p:spPr>
          <a:xfrm>
            <a:off x="2015490" y="4717655"/>
            <a:ext cx="0" cy="12573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0C4C63E1-AE11-A977-2CE0-C30F46500263}"/>
              </a:ext>
            </a:extLst>
          </p:cNvPr>
          <p:cNvSpPr txBox="1"/>
          <p:nvPr/>
        </p:nvSpPr>
        <p:spPr>
          <a:xfrm>
            <a:off x="720093" y="1514081"/>
            <a:ext cx="1108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0</a:t>
            </a:r>
          </a:p>
          <a:p>
            <a:pPr algn="ctr"/>
            <a:r>
              <a:rPr lang="en-US" dirty="0"/>
              <a:t>min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9A16E28-12BC-81AD-01C3-229B3EE52ECF}"/>
              </a:ext>
            </a:extLst>
          </p:cNvPr>
          <p:cNvSpPr txBox="1"/>
          <p:nvPr/>
        </p:nvSpPr>
        <p:spPr>
          <a:xfrm>
            <a:off x="720093" y="2969899"/>
            <a:ext cx="1108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0</a:t>
            </a:r>
          </a:p>
          <a:p>
            <a:pPr algn="ctr"/>
            <a:r>
              <a:rPr lang="en-US" dirty="0"/>
              <a:t>mi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00FBE0-3C34-B530-ECC9-E52F63999F36}"/>
              </a:ext>
            </a:extLst>
          </p:cNvPr>
          <p:cNvSpPr txBox="1"/>
          <p:nvPr/>
        </p:nvSpPr>
        <p:spPr>
          <a:xfrm>
            <a:off x="720092" y="5020753"/>
            <a:ext cx="1108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0 </a:t>
            </a:r>
          </a:p>
          <a:p>
            <a:pPr algn="ctr"/>
            <a:r>
              <a:rPr lang="en-US" dirty="0"/>
              <a:t>m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F6AE85E-1E8F-0B30-E69E-386E2CF20F82}"/>
              </a:ext>
            </a:extLst>
          </p:cNvPr>
          <p:cNvSpPr txBox="1"/>
          <p:nvPr/>
        </p:nvSpPr>
        <p:spPr>
          <a:xfrm>
            <a:off x="5277803" y="1369172"/>
            <a:ext cx="46853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programm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re does Python fit i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use it on our computer?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B75E2B2-C1F1-A562-F8A9-CD78AA34A2A9}"/>
              </a:ext>
            </a:extLst>
          </p:cNvPr>
          <p:cNvSpPr txBox="1"/>
          <p:nvPr/>
        </p:nvSpPr>
        <p:spPr>
          <a:xfrm>
            <a:off x="2228850" y="2937243"/>
            <a:ext cx="3285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Let’s get programming: Python Specific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B175389-8776-38C8-4D2D-93984508253F}"/>
              </a:ext>
            </a:extLst>
          </p:cNvPr>
          <p:cNvSpPr txBox="1"/>
          <p:nvPr/>
        </p:nvSpPr>
        <p:spPr>
          <a:xfrm>
            <a:off x="5277803" y="2798743"/>
            <a:ext cx="258879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eboo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bles &amp; Nam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42805D-3D9D-606B-670F-E2ED696F8BA8}"/>
              </a:ext>
            </a:extLst>
          </p:cNvPr>
          <p:cNvSpPr txBox="1"/>
          <p:nvPr/>
        </p:nvSpPr>
        <p:spPr>
          <a:xfrm>
            <a:off x="8083777" y="2798743"/>
            <a:ext cx="30489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ck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ditional stat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p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2F6B20A-C03A-7160-7E4C-5D976EC2B6D4}"/>
              </a:ext>
            </a:extLst>
          </p:cNvPr>
          <p:cNvCxnSpPr>
            <a:cxnSpLocks/>
          </p:cNvCxnSpPr>
          <p:nvPr/>
        </p:nvCxnSpPr>
        <p:spPr>
          <a:xfrm>
            <a:off x="2011680" y="4086618"/>
            <a:ext cx="0" cy="43251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DB8D251-8B79-79AC-4913-3D4A20C0BAF8}"/>
              </a:ext>
            </a:extLst>
          </p:cNvPr>
          <p:cNvSpPr txBox="1"/>
          <p:nvPr/>
        </p:nvSpPr>
        <p:spPr>
          <a:xfrm>
            <a:off x="718188" y="4117509"/>
            <a:ext cx="1293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5-10 min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CA442BA-11A5-97E7-1DD5-15EE7E567053}"/>
              </a:ext>
            </a:extLst>
          </p:cNvPr>
          <p:cNvSpPr txBox="1"/>
          <p:nvPr/>
        </p:nvSpPr>
        <p:spPr>
          <a:xfrm>
            <a:off x="2228850" y="5029663"/>
            <a:ext cx="3285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Let’s </a:t>
            </a:r>
            <a:r>
              <a:rPr lang="en-US" b="1" i="1" dirty="0"/>
              <a:t>really </a:t>
            </a:r>
            <a:r>
              <a:rPr lang="en-US" b="1" dirty="0"/>
              <a:t>get programming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AF7C2F1-FF30-C1FE-6ACC-B4793B531BC7}"/>
              </a:ext>
            </a:extLst>
          </p:cNvPr>
          <p:cNvSpPr txBox="1"/>
          <p:nvPr/>
        </p:nvSpPr>
        <p:spPr>
          <a:xfrm>
            <a:off x="5277803" y="4891163"/>
            <a:ext cx="54456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use Python at </a:t>
            </a:r>
            <a:r>
              <a:rPr lang="en-US" dirty="0" err="1"/>
              <a:t>Acin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</a:t>
            </a:r>
            <a:r>
              <a:rPr lang="en-US" i="1" dirty="0"/>
              <a:t>can</a:t>
            </a:r>
            <a:r>
              <a:rPr lang="en-US" dirty="0"/>
              <a:t> we use this for at </a:t>
            </a:r>
            <a:r>
              <a:rPr lang="en-US" dirty="0" err="1"/>
              <a:t>Aci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 Task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4B89F63-5832-08B9-D3A0-5964CAFFE672}"/>
              </a:ext>
            </a:extLst>
          </p:cNvPr>
          <p:cNvSpPr/>
          <p:nvPr/>
        </p:nvSpPr>
        <p:spPr>
          <a:xfrm>
            <a:off x="11210443" y="1455043"/>
            <a:ext cx="599132" cy="59913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Picture 58" descr="Python Transparent Background - Transparent Background Python Logo Png,Python  Png - free transparent png images - pngaaa.com">
            <a:extLst>
              <a:ext uri="{FF2B5EF4-FFF2-40B4-BE49-F238E27FC236}">
                <a16:creationId xmlns:a16="http://schemas.microsoft.com/office/drawing/2014/main" id="{F8FAC737-E344-F01E-85EB-CB3FA0A027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3771A1"/>
              </a:clrFrom>
              <a:clrTo>
                <a:srgbClr val="3771A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7" t="10760" r="12241" b="17107"/>
          <a:stretch/>
        </p:blipFill>
        <p:spPr bwMode="auto">
          <a:xfrm>
            <a:off x="11251790" y="1485094"/>
            <a:ext cx="529342" cy="529342"/>
          </a:xfrm>
          <a:custGeom>
            <a:avLst/>
            <a:gdLst>
              <a:gd name="connsiteX0" fmla="*/ 2473432 w 4946864"/>
              <a:gd name="connsiteY0" fmla="*/ 0 h 4946864"/>
              <a:gd name="connsiteX1" fmla="*/ 4946864 w 4946864"/>
              <a:gd name="connsiteY1" fmla="*/ 2473432 h 4946864"/>
              <a:gd name="connsiteX2" fmla="*/ 2473432 w 4946864"/>
              <a:gd name="connsiteY2" fmla="*/ 4946864 h 4946864"/>
              <a:gd name="connsiteX3" fmla="*/ 0 w 4946864"/>
              <a:gd name="connsiteY3" fmla="*/ 2473432 h 4946864"/>
              <a:gd name="connsiteX4" fmla="*/ 2473432 w 4946864"/>
              <a:gd name="connsiteY4" fmla="*/ 0 h 494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864" h="4946864">
                <a:moveTo>
                  <a:pt x="2473432" y="0"/>
                </a:moveTo>
                <a:cubicBezTo>
                  <a:pt x="3839471" y="0"/>
                  <a:pt x="4946864" y="1107393"/>
                  <a:pt x="4946864" y="2473432"/>
                </a:cubicBezTo>
                <a:cubicBezTo>
                  <a:pt x="4946864" y="3839471"/>
                  <a:pt x="3839471" y="4946864"/>
                  <a:pt x="2473432" y="4946864"/>
                </a:cubicBezTo>
                <a:cubicBezTo>
                  <a:pt x="1107393" y="4946864"/>
                  <a:pt x="0" y="3839471"/>
                  <a:pt x="0" y="2473432"/>
                </a:cubicBezTo>
                <a:cubicBezTo>
                  <a:pt x="0" y="1107393"/>
                  <a:pt x="1107393" y="0"/>
                  <a:pt x="2473432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Oval 60">
            <a:extLst>
              <a:ext uri="{FF2B5EF4-FFF2-40B4-BE49-F238E27FC236}">
                <a16:creationId xmlns:a16="http://schemas.microsoft.com/office/drawing/2014/main" id="{3F91C545-5428-6854-C5B5-E4D54108EE3F}"/>
              </a:ext>
            </a:extLst>
          </p:cNvPr>
          <p:cNvSpPr/>
          <p:nvPr/>
        </p:nvSpPr>
        <p:spPr>
          <a:xfrm>
            <a:off x="11210443" y="2955642"/>
            <a:ext cx="599132" cy="59913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CEAD8047-6550-E14C-13B1-1B469A3441FE}"/>
              </a:ext>
            </a:extLst>
          </p:cNvPr>
          <p:cNvSpPr/>
          <p:nvPr/>
        </p:nvSpPr>
        <p:spPr>
          <a:xfrm>
            <a:off x="11210443" y="5053262"/>
            <a:ext cx="599132" cy="59913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46A433C5-D74A-48CC-3E95-4D0E204B587F}"/>
              </a:ext>
            </a:extLst>
          </p:cNvPr>
          <p:cNvGrpSpPr/>
          <p:nvPr/>
        </p:nvGrpSpPr>
        <p:grpSpPr>
          <a:xfrm>
            <a:off x="11275429" y="3148361"/>
            <a:ext cx="143420" cy="159209"/>
            <a:chOff x="11275429" y="3148361"/>
            <a:chExt cx="143420" cy="159209"/>
          </a:xfrm>
        </p:grpSpPr>
        <p:cxnSp>
          <p:nvCxnSpPr>
            <p:cNvPr id="1029" name="Straight Connector 1028">
              <a:extLst>
                <a:ext uri="{FF2B5EF4-FFF2-40B4-BE49-F238E27FC236}">
                  <a16:creationId xmlns:a16="http://schemas.microsoft.com/office/drawing/2014/main" id="{C21C2EB8-F273-E38D-F322-183E100E4F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75429" y="3148361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965CF2C9-642D-52A4-BBCE-02849038249A}"/>
                </a:ext>
              </a:extLst>
            </p:cNvPr>
            <p:cNvCxnSpPr>
              <a:cxnSpLocks/>
            </p:cNvCxnSpPr>
            <p:nvPr/>
          </p:nvCxnSpPr>
          <p:spPr>
            <a:xfrm>
              <a:off x="11275429" y="3218379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C746465F-6D90-AA51-C67F-F540B4A374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88757" y="3211553"/>
              <a:ext cx="0" cy="3240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F37A9D8C-8D90-AD99-36B9-3A03FE066FDE}"/>
              </a:ext>
            </a:extLst>
          </p:cNvPr>
          <p:cNvGrpSpPr/>
          <p:nvPr/>
        </p:nvGrpSpPr>
        <p:grpSpPr>
          <a:xfrm flipH="1">
            <a:off x="11621182" y="3157947"/>
            <a:ext cx="143420" cy="159209"/>
            <a:chOff x="11275429" y="3148361"/>
            <a:chExt cx="143420" cy="159209"/>
          </a:xfrm>
        </p:grpSpPr>
        <p:cxnSp>
          <p:nvCxnSpPr>
            <p:cNvPr id="1053" name="Straight Connector 1052">
              <a:extLst>
                <a:ext uri="{FF2B5EF4-FFF2-40B4-BE49-F238E27FC236}">
                  <a16:creationId xmlns:a16="http://schemas.microsoft.com/office/drawing/2014/main" id="{D2AD830F-7446-900E-5AB8-F946C40A44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75429" y="3148361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Straight Connector 1053">
              <a:extLst>
                <a:ext uri="{FF2B5EF4-FFF2-40B4-BE49-F238E27FC236}">
                  <a16:creationId xmlns:a16="http://schemas.microsoft.com/office/drawing/2014/main" id="{28608F5F-1DC9-7622-55F0-3694DB2E67D1}"/>
                </a:ext>
              </a:extLst>
            </p:cNvPr>
            <p:cNvCxnSpPr>
              <a:cxnSpLocks/>
            </p:cNvCxnSpPr>
            <p:nvPr/>
          </p:nvCxnSpPr>
          <p:spPr>
            <a:xfrm>
              <a:off x="11275429" y="3218379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781212D1-9B8B-B9FE-FBD3-BE274B34B1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88757" y="3211553"/>
              <a:ext cx="0" cy="3240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6" name="Straight Connector 1055">
            <a:extLst>
              <a:ext uri="{FF2B5EF4-FFF2-40B4-BE49-F238E27FC236}">
                <a16:creationId xmlns:a16="http://schemas.microsoft.com/office/drawing/2014/main" id="{9C04BE1A-2307-39F0-4805-BF2CE07F5C17}"/>
              </a:ext>
            </a:extLst>
          </p:cNvPr>
          <p:cNvCxnSpPr>
            <a:cxnSpLocks/>
          </p:cNvCxnSpPr>
          <p:nvPr/>
        </p:nvCxnSpPr>
        <p:spPr>
          <a:xfrm flipV="1">
            <a:off x="11471907" y="3054279"/>
            <a:ext cx="96515" cy="366497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0" name="Picture 1059" descr="Icon&#10;&#10;Description automatically generated with medium confidence">
            <a:extLst>
              <a:ext uri="{FF2B5EF4-FFF2-40B4-BE49-F238E27FC236}">
                <a16:creationId xmlns:a16="http://schemas.microsoft.com/office/drawing/2014/main" id="{A53430EF-D80F-6759-0029-80CB0BF7FD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8757" y="5151140"/>
            <a:ext cx="441970" cy="40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2220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EC03F2D-C257-5D12-45D7-A4012E8A0DF4}"/>
              </a:ext>
            </a:extLst>
          </p:cNvPr>
          <p:cNvSpPr/>
          <p:nvPr/>
        </p:nvSpPr>
        <p:spPr>
          <a:xfrm>
            <a:off x="2394939" y="1197353"/>
            <a:ext cx="7402122" cy="419552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Integrated Development Environment (IDE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en-GB" dirty="0"/>
              <a:t>Versions? Packages?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B65E00F4-9649-9055-3DC7-66CBE28C2FA7}"/>
              </a:ext>
            </a:extLst>
          </p:cNvPr>
          <p:cNvSpPr/>
          <p:nvPr/>
        </p:nvSpPr>
        <p:spPr>
          <a:xfrm>
            <a:off x="3420389" y="1840779"/>
            <a:ext cx="5340928" cy="3345873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irtual Environment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83F50D4-02F5-2B3F-A084-0029E2E5220B}"/>
              </a:ext>
            </a:extLst>
          </p:cNvPr>
          <p:cNvSpPr/>
          <p:nvPr/>
        </p:nvSpPr>
        <p:spPr>
          <a:xfrm>
            <a:off x="6079674" y="2527894"/>
            <a:ext cx="2532899" cy="246266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Package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265E0396-170C-6988-5377-7E915E091DFF}"/>
              </a:ext>
            </a:extLst>
          </p:cNvPr>
          <p:cNvSpPr/>
          <p:nvPr/>
        </p:nvSpPr>
        <p:spPr>
          <a:xfrm>
            <a:off x="3515569" y="2527894"/>
            <a:ext cx="2532899" cy="246266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Python Version</a:t>
            </a:r>
          </a:p>
        </p:txBody>
      </p:sp>
      <p:pic>
        <p:nvPicPr>
          <p:cNvPr id="14" name="Picture 13" descr="A white doted word on a black background&#10;&#10;Description automatically generated">
            <a:extLst>
              <a:ext uri="{FF2B5EF4-FFF2-40B4-BE49-F238E27FC236}">
                <a16:creationId xmlns:a16="http://schemas.microsoft.com/office/drawing/2014/main" id="{613C3631-2257-8847-50DE-4DF6347F3B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328" y="3085205"/>
            <a:ext cx="1281139" cy="720641"/>
          </a:xfrm>
          <a:prstGeom prst="rect">
            <a:avLst/>
          </a:prstGeom>
        </p:spPr>
      </p:pic>
      <p:pic>
        <p:nvPicPr>
          <p:cNvPr id="15" name="Picture 12" descr="Download Python Logo Png Image HQ PNG Image | FreePNGImg">
            <a:extLst>
              <a:ext uri="{FF2B5EF4-FFF2-40B4-BE49-F238E27FC236}">
                <a16:creationId xmlns:a16="http://schemas.microsoft.com/office/drawing/2014/main" id="{D949B68A-95B8-C83E-373A-1237BC5211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4782018" y="3827889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2CF7F8F-953B-B111-38EF-F25323E2A7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22820" y="3508255"/>
            <a:ext cx="626352" cy="837796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22C61A-8A39-8E9E-946B-02765D588D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42782" y="3452554"/>
            <a:ext cx="2312580" cy="178699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C035FB7-B49F-59FE-AEAD-4A23CDB951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32227" y="2842968"/>
            <a:ext cx="1865216" cy="83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5902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Question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826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get coding!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7689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LIN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396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DA95E8DF-6ED1-B0A2-2768-53FBE4C94101}"/>
              </a:ext>
            </a:extLst>
          </p:cNvPr>
          <p:cNvSpPr/>
          <p:nvPr/>
        </p:nvSpPr>
        <p:spPr>
          <a:xfrm>
            <a:off x="103909" y="1445126"/>
            <a:ext cx="6819199" cy="4597080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263B71-AA85-9491-0C66-713B0048861D}"/>
              </a:ext>
            </a:extLst>
          </p:cNvPr>
          <p:cNvSpPr/>
          <p:nvPr/>
        </p:nvSpPr>
        <p:spPr>
          <a:xfrm>
            <a:off x="979137" y="1906372"/>
            <a:ext cx="4835921" cy="1223778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4</a:t>
            </a:fld>
            <a:endParaRPr lang="en-GB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046E607-0BFA-6899-7931-7D271449EE0A}"/>
              </a:ext>
            </a:extLst>
          </p:cNvPr>
          <p:cNvSpPr/>
          <p:nvPr/>
        </p:nvSpPr>
        <p:spPr>
          <a:xfrm>
            <a:off x="3819441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82C43E3-3E03-0C9F-76EA-180292E3769F}"/>
              </a:ext>
            </a:extLst>
          </p:cNvPr>
          <p:cNvSpPr/>
          <p:nvPr/>
        </p:nvSpPr>
        <p:spPr>
          <a:xfrm>
            <a:off x="1509165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m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FF30BD1-CA50-B841-0A74-1B09D40FE506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3289413" y="2705659"/>
            <a:ext cx="530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742F1E26-14E8-C61F-3A46-0E52887C9BE4}"/>
              </a:ext>
            </a:extLst>
          </p:cNvPr>
          <p:cNvSpPr/>
          <p:nvPr/>
        </p:nvSpPr>
        <p:spPr>
          <a:xfrm>
            <a:off x="262536" y="3544521"/>
            <a:ext cx="6564291" cy="23637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Typ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pic>
        <p:nvPicPr>
          <p:cNvPr id="6" name="Picture 5" descr="A close-up of a computer code&#10;&#10;Description automatically generated">
            <a:extLst>
              <a:ext uri="{FF2B5EF4-FFF2-40B4-BE49-F238E27FC236}">
                <a16:creationId xmlns:a16="http://schemas.microsoft.com/office/drawing/2014/main" id="{9ED71AA8-75D4-FC84-B58D-A7BCB14ACD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337" y="3001079"/>
            <a:ext cx="3832941" cy="1080000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16A8F15-5C2B-9C90-D826-DEEE3EF08B39}"/>
              </a:ext>
            </a:extLst>
          </p:cNvPr>
          <p:cNvSpPr/>
          <p:nvPr/>
        </p:nvSpPr>
        <p:spPr>
          <a:xfrm>
            <a:off x="436778" y="4045769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ring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B464630-81B2-D2C3-C394-B7241215C378}"/>
              </a:ext>
            </a:extLst>
          </p:cNvPr>
          <p:cNvSpPr/>
          <p:nvPr/>
        </p:nvSpPr>
        <p:spPr>
          <a:xfrm>
            <a:off x="463537" y="4845056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ge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4CBC429-34E4-966D-E000-5687EDBB92D9}"/>
              </a:ext>
            </a:extLst>
          </p:cNvPr>
          <p:cNvSpPr/>
          <p:nvPr/>
        </p:nvSpPr>
        <p:spPr>
          <a:xfrm>
            <a:off x="2949276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st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9CB1FE5-9306-2D2B-E750-894AD6D7486A}"/>
              </a:ext>
            </a:extLst>
          </p:cNvPr>
          <p:cNvSpPr/>
          <p:nvPr/>
        </p:nvSpPr>
        <p:spPr>
          <a:xfrm>
            <a:off x="4933184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ctionar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A3931D-3BDD-C173-1766-D656067A547E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1326902" y="3076486"/>
            <a:ext cx="3385489" cy="9692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44EA92-5162-B00D-F1A4-D9D252BF712B}"/>
              </a:ext>
            </a:extLst>
          </p:cNvPr>
          <p:cNvCxnSpPr>
            <a:cxnSpLocks/>
            <a:endCxn id="11" idx="0"/>
          </p:cNvCxnSpPr>
          <p:nvPr/>
        </p:nvCxnSpPr>
        <p:spPr>
          <a:xfrm flipH="1">
            <a:off x="1353661" y="3077203"/>
            <a:ext cx="3375863" cy="17678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5BDF42-1862-EC6B-48BF-47684ED6DF75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4683161" y="3076486"/>
            <a:ext cx="1140147" cy="952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1800EE7-90CC-DCAA-2245-3D1023D100E5}"/>
              </a:ext>
            </a:extLst>
          </p:cNvPr>
          <p:cNvCxnSpPr>
            <a:cxnSpLocks/>
            <a:endCxn id="12" idx="0"/>
          </p:cNvCxnSpPr>
          <p:nvPr/>
        </p:nvCxnSpPr>
        <p:spPr>
          <a:xfrm flipH="1">
            <a:off x="3839400" y="3084728"/>
            <a:ext cx="863365" cy="944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06523DEE-5897-7ED5-3AEA-EC94DECA4887}"/>
              </a:ext>
            </a:extLst>
          </p:cNvPr>
          <p:cNvSpPr/>
          <p:nvPr/>
        </p:nvSpPr>
        <p:spPr>
          <a:xfrm>
            <a:off x="3881786" y="4998662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66AB625-42A2-BC3F-BE05-FA52AB0490C3}"/>
              </a:ext>
            </a:extLst>
          </p:cNvPr>
          <p:cNvCxnSpPr>
            <a:cxnSpLocks/>
            <a:endCxn id="36" idx="0"/>
          </p:cNvCxnSpPr>
          <p:nvPr/>
        </p:nvCxnSpPr>
        <p:spPr>
          <a:xfrm>
            <a:off x="4702765" y="3084728"/>
            <a:ext cx="69145" cy="19139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7375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DA95E8DF-6ED1-B0A2-2768-53FBE4C94101}"/>
              </a:ext>
            </a:extLst>
          </p:cNvPr>
          <p:cNvSpPr/>
          <p:nvPr/>
        </p:nvSpPr>
        <p:spPr>
          <a:xfrm>
            <a:off x="103909" y="1445126"/>
            <a:ext cx="6819199" cy="4597080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263B71-AA85-9491-0C66-713B0048861D}"/>
              </a:ext>
            </a:extLst>
          </p:cNvPr>
          <p:cNvSpPr/>
          <p:nvPr/>
        </p:nvSpPr>
        <p:spPr>
          <a:xfrm>
            <a:off x="979137" y="1906372"/>
            <a:ext cx="4835921" cy="1223778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5</a:t>
            </a:fld>
            <a:endParaRPr lang="en-GB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046E607-0BFA-6899-7931-7D271449EE0A}"/>
              </a:ext>
            </a:extLst>
          </p:cNvPr>
          <p:cNvSpPr/>
          <p:nvPr/>
        </p:nvSpPr>
        <p:spPr>
          <a:xfrm>
            <a:off x="3819441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82C43E3-3E03-0C9F-76EA-180292E3769F}"/>
              </a:ext>
            </a:extLst>
          </p:cNvPr>
          <p:cNvSpPr/>
          <p:nvPr/>
        </p:nvSpPr>
        <p:spPr>
          <a:xfrm>
            <a:off x="1509165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m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FF30BD1-CA50-B841-0A74-1B09D40FE506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3289413" y="2705659"/>
            <a:ext cx="530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742F1E26-14E8-C61F-3A46-0E52887C9BE4}"/>
              </a:ext>
            </a:extLst>
          </p:cNvPr>
          <p:cNvSpPr/>
          <p:nvPr/>
        </p:nvSpPr>
        <p:spPr>
          <a:xfrm>
            <a:off x="262536" y="3544521"/>
            <a:ext cx="6564291" cy="23637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Typ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16A8F15-5C2B-9C90-D826-DEEE3EF08B39}"/>
              </a:ext>
            </a:extLst>
          </p:cNvPr>
          <p:cNvSpPr/>
          <p:nvPr/>
        </p:nvSpPr>
        <p:spPr>
          <a:xfrm>
            <a:off x="436778" y="4045769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ring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B464630-81B2-D2C3-C394-B7241215C378}"/>
              </a:ext>
            </a:extLst>
          </p:cNvPr>
          <p:cNvSpPr/>
          <p:nvPr/>
        </p:nvSpPr>
        <p:spPr>
          <a:xfrm>
            <a:off x="463537" y="4845056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ge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4CBC429-34E4-966D-E000-5687EDBB92D9}"/>
              </a:ext>
            </a:extLst>
          </p:cNvPr>
          <p:cNvSpPr/>
          <p:nvPr/>
        </p:nvSpPr>
        <p:spPr>
          <a:xfrm>
            <a:off x="2949276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st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9CB1FE5-9306-2D2B-E750-894AD6D7486A}"/>
              </a:ext>
            </a:extLst>
          </p:cNvPr>
          <p:cNvSpPr/>
          <p:nvPr/>
        </p:nvSpPr>
        <p:spPr>
          <a:xfrm>
            <a:off x="4933184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ctionar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A3931D-3BDD-C173-1766-D656067A547E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1326902" y="3076486"/>
            <a:ext cx="3385489" cy="9692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44EA92-5162-B00D-F1A4-D9D252BF712B}"/>
              </a:ext>
            </a:extLst>
          </p:cNvPr>
          <p:cNvCxnSpPr>
            <a:cxnSpLocks/>
            <a:endCxn id="11" idx="0"/>
          </p:cNvCxnSpPr>
          <p:nvPr/>
        </p:nvCxnSpPr>
        <p:spPr>
          <a:xfrm flipH="1">
            <a:off x="1353661" y="3077203"/>
            <a:ext cx="3375863" cy="17678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5BDF42-1862-EC6B-48BF-47684ED6DF75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4683161" y="3076486"/>
            <a:ext cx="1140147" cy="952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1800EE7-90CC-DCAA-2245-3D1023D100E5}"/>
              </a:ext>
            </a:extLst>
          </p:cNvPr>
          <p:cNvCxnSpPr>
            <a:cxnSpLocks/>
            <a:endCxn id="12" idx="0"/>
          </p:cNvCxnSpPr>
          <p:nvPr/>
        </p:nvCxnSpPr>
        <p:spPr>
          <a:xfrm flipH="1">
            <a:off x="3839400" y="3084728"/>
            <a:ext cx="863365" cy="944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66AB625-42A2-BC3F-BE05-FA52AB0490C3}"/>
              </a:ext>
            </a:extLst>
          </p:cNvPr>
          <p:cNvCxnSpPr>
            <a:cxnSpLocks/>
            <a:stCxn id="13" idx="2"/>
            <a:endCxn id="3" idx="0"/>
          </p:cNvCxnSpPr>
          <p:nvPr/>
        </p:nvCxnSpPr>
        <p:spPr>
          <a:xfrm flipH="1">
            <a:off x="5815058" y="4755568"/>
            <a:ext cx="8250" cy="3112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1A442D3-17C7-A56A-B2B6-E85C816B30EC}"/>
              </a:ext>
            </a:extLst>
          </p:cNvPr>
          <p:cNvSpPr/>
          <p:nvPr/>
        </p:nvSpPr>
        <p:spPr>
          <a:xfrm>
            <a:off x="4924934" y="5066855"/>
            <a:ext cx="1780248" cy="726604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thod</a:t>
            </a:r>
          </a:p>
        </p:txBody>
      </p:sp>
      <p:pic>
        <p:nvPicPr>
          <p:cNvPr id="20" name="Picture 19" descr="A white rectangular object with black text&#10;&#10;Description automatically generated">
            <a:extLst>
              <a:ext uri="{FF2B5EF4-FFF2-40B4-BE49-F238E27FC236}">
                <a16:creationId xmlns:a16="http://schemas.microsoft.com/office/drawing/2014/main" id="{32FEC1C9-6F19-068F-53B1-1A4910CB7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4592" y="2823220"/>
            <a:ext cx="4809428" cy="120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4919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9EE67A2-AA18-E4ED-AFA7-E8D6B1758237}"/>
              </a:ext>
            </a:extLst>
          </p:cNvPr>
          <p:cNvSpPr/>
          <p:nvPr/>
        </p:nvSpPr>
        <p:spPr>
          <a:xfrm>
            <a:off x="2319718" y="24975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pa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6</a:t>
            </a:fld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D05297C7-6B79-247C-A6D0-411CBE15E768}"/>
              </a:ext>
            </a:extLst>
          </p:cNvPr>
          <p:cNvSpPr/>
          <p:nvPr/>
        </p:nvSpPr>
        <p:spPr>
          <a:xfrm>
            <a:off x="2293630" y="3174498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 Updat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4843468-0B66-106A-D336-DF229F9940F5}"/>
              </a:ext>
            </a:extLst>
          </p:cNvPr>
          <p:cNvSpPr/>
          <p:nvPr/>
        </p:nvSpPr>
        <p:spPr>
          <a:xfrm>
            <a:off x="3960170" y="2591582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D59516F2-1FAF-1F94-C4C8-8849B8250FEE}"/>
              </a:ext>
            </a:extLst>
          </p:cNvPr>
          <p:cNvSpPr/>
          <p:nvPr/>
        </p:nvSpPr>
        <p:spPr>
          <a:xfrm>
            <a:off x="2319719" y="18251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bine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A0015E7E-E2FF-01EE-4CCF-C45B92235B3E}"/>
              </a:ext>
            </a:extLst>
          </p:cNvPr>
          <p:cNvSpPr/>
          <p:nvPr/>
        </p:nvSpPr>
        <p:spPr>
          <a:xfrm>
            <a:off x="3945776" y="3272013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00B85DA-723D-B468-E303-00A943041A5A}"/>
              </a:ext>
            </a:extLst>
          </p:cNvPr>
          <p:cNvSpPr/>
          <p:nvPr/>
        </p:nvSpPr>
        <p:spPr>
          <a:xfrm>
            <a:off x="2319717" y="3857851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Method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6E42254-BD1E-07E4-7A43-5918A4C9A18D}"/>
              </a:ext>
            </a:extLst>
          </p:cNvPr>
          <p:cNvSpPr/>
          <p:nvPr/>
        </p:nvSpPr>
        <p:spPr>
          <a:xfrm>
            <a:off x="3945776" y="3939689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8DC72B7B-CF1A-F263-63C9-8D0C8F35717E}"/>
              </a:ext>
            </a:extLst>
          </p:cNvPr>
          <p:cNvSpPr/>
          <p:nvPr/>
        </p:nvSpPr>
        <p:spPr>
          <a:xfrm>
            <a:off x="2319716" y="4549852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Loops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9056DF6-84BA-00EC-6F39-DB40D43FCB72}"/>
              </a:ext>
            </a:extLst>
          </p:cNvPr>
          <p:cNvSpPr/>
          <p:nvPr/>
        </p:nvSpPr>
        <p:spPr>
          <a:xfrm>
            <a:off x="3922384" y="4654741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263B71-AA85-9491-0C66-713B0048861D}"/>
              </a:ext>
            </a:extLst>
          </p:cNvPr>
          <p:cNvSpPr/>
          <p:nvPr/>
        </p:nvSpPr>
        <p:spPr>
          <a:xfrm>
            <a:off x="3960170" y="1907031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807793E-F97D-F295-C23F-F7E53E1FF8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818" y="1118281"/>
            <a:ext cx="4610100" cy="1447800"/>
          </a:xfrm>
          <a:prstGeom prst="rect">
            <a:avLst/>
          </a:prstGeom>
        </p:spPr>
      </p:pic>
      <p:pic>
        <p:nvPicPr>
          <p:cNvPr id="9" name="Picture 8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F39844AB-4557-F684-6053-E60355AFA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742" y="2708923"/>
            <a:ext cx="3281795" cy="1480025"/>
          </a:xfrm>
          <a:prstGeom prst="rect">
            <a:avLst/>
          </a:prstGeom>
        </p:spPr>
      </p:pic>
      <p:pic>
        <p:nvPicPr>
          <p:cNvPr id="11" name="Picture 10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4967CC95-102A-1589-3642-E8A426CC7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742" y="4331790"/>
            <a:ext cx="3281795" cy="167438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9585C27-0EC7-414A-7E96-5952C3A00431}"/>
              </a:ext>
            </a:extLst>
          </p:cNvPr>
          <p:cNvCxnSpPr>
            <a:cxnSpLocks/>
            <a:stCxn id="27" idx="3"/>
            <a:endCxn id="6" idx="1"/>
          </p:cNvCxnSpPr>
          <p:nvPr/>
        </p:nvCxnSpPr>
        <p:spPr>
          <a:xfrm flipV="1">
            <a:off x="5202762" y="1842181"/>
            <a:ext cx="1072056" cy="2925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FA91A2-ECF4-AFF7-7AC9-98EA198AC304}"/>
              </a:ext>
            </a:extLst>
          </p:cNvPr>
          <p:cNvCxnSpPr>
            <a:stCxn id="14" idx="3"/>
            <a:endCxn id="9" idx="1"/>
          </p:cNvCxnSpPr>
          <p:nvPr/>
        </p:nvCxnSpPr>
        <p:spPr>
          <a:xfrm>
            <a:off x="5202761" y="2807158"/>
            <a:ext cx="1492981" cy="6417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395FEFE-356B-D1FB-4FEC-84D49513639A}"/>
              </a:ext>
            </a:extLst>
          </p:cNvPr>
          <p:cNvCxnSpPr>
            <a:stCxn id="32" idx="3"/>
            <a:endCxn id="11" idx="1"/>
          </p:cNvCxnSpPr>
          <p:nvPr/>
        </p:nvCxnSpPr>
        <p:spPr>
          <a:xfrm>
            <a:off x="5202759" y="4859417"/>
            <a:ext cx="1492983" cy="3095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8651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B80F3D5-E163-F0AE-2CB7-463BF010D019}"/>
              </a:ext>
            </a:extLst>
          </p:cNvPr>
          <p:cNvSpPr/>
          <p:nvPr/>
        </p:nvSpPr>
        <p:spPr>
          <a:xfrm>
            <a:off x="1727858" y="1174302"/>
            <a:ext cx="4143121" cy="4509396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Function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9EE67A2-AA18-E4ED-AFA7-E8D6B1758237}"/>
              </a:ext>
            </a:extLst>
          </p:cNvPr>
          <p:cNvSpPr/>
          <p:nvPr/>
        </p:nvSpPr>
        <p:spPr>
          <a:xfrm>
            <a:off x="2319718" y="24975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pa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7</a:t>
            </a:fld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D05297C7-6B79-247C-A6D0-411CBE15E768}"/>
              </a:ext>
            </a:extLst>
          </p:cNvPr>
          <p:cNvSpPr/>
          <p:nvPr/>
        </p:nvSpPr>
        <p:spPr>
          <a:xfrm>
            <a:off x="2293630" y="3174498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 Update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D59516F2-1FAF-1F94-C4C8-8849B8250FEE}"/>
              </a:ext>
            </a:extLst>
          </p:cNvPr>
          <p:cNvSpPr/>
          <p:nvPr/>
        </p:nvSpPr>
        <p:spPr>
          <a:xfrm>
            <a:off x="2319719" y="18251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bine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00B85DA-723D-B468-E303-00A943041A5A}"/>
              </a:ext>
            </a:extLst>
          </p:cNvPr>
          <p:cNvSpPr/>
          <p:nvPr/>
        </p:nvSpPr>
        <p:spPr>
          <a:xfrm>
            <a:off x="2319718" y="4525204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…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8DC72B7B-CF1A-F263-63C9-8D0C8F35717E}"/>
              </a:ext>
            </a:extLst>
          </p:cNvPr>
          <p:cNvSpPr/>
          <p:nvPr/>
        </p:nvSpPr>
        <p:spPr>
          <a:xfrm>
            <a:off x="2319718" y="3859625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Loop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AF8A69C2-3D57-ED5E-32D1-DFA48783E48F}"/>
              </a:ext>
            </a:extLst>
          </p:cNvPr>
          <p:cNvSpPr/>
          <p:nvPr/>
        </p:nvSpPr>
        <p:spPr>
          <a:xfrm>
            <a:off x="105478" y="1635900"/>
            <a:ext cx="1259031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 1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A60A742-A769-BDB7-8688-A3AF35EEBA16}"/>
              </a:ext>
            </a:extLst>
          </p:cNvPr>
          <p:cNvCxnSpPr>
            <a:cxnSpLocks/>
          </p:cNvCxnSpPr>
          <p:nvPr/>
        </p:nvCxnSpPr>
        <p:spPr>
          <a:xfrm>
            <a:off x="1379230" y="1863626"/>
            <a:ext cx="348628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78C2D40-D103-E9AC-A849-0EB685AB0A23}"/>
              </a:ext>
            </a:extLst>
          </p:cNvPr>
          <p:cNvCxnSpPr>
            <a:cxnSpLocks/>
          </p:cNvCxnSpPr>
          <p:nvPr/>
        </p:nvCxnSpPr>
        <p:spPr>
          <a:xfrm flipV="1">
            <a:off x="5870978" y="5041710"/>
            <a:ext cx="4500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AE8F0A1B-989D-A537-D798-7535B561206B}"/>
              </a:ext>
            </a:extLst>
          </p:cNvPr>
          <p:cNvSpPr/>
          <p:nvPr/>
        </p:nvSpPr>
        <p:spPr>
          <a:xfrm>
            <a:off x="6324423" y="4824377"/>
            <a:ext cx="1259031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 2</a:t>
            </a:r>
          </a:p>
        </p:txBody>
      </p:sp>
      <p:pic>
        <p:nvPicPr>
          <p:cNvPr id="17" name="Picture 1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62EBF06D-440D-EAF0-AEDB-DEB4560AFF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2839" y="2173929"/>
            <a:ext cx="5053941" cy="174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0444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D18728-CDDE-A4D5-BCB7-66FB071623EE}"/>
              </a:ext>
            </a:extLst>
          </p:cNvPr>
          <p:cNvSpPr/>
          <p:nvPr/>
        </p:nvSpPr>
        <p:spPr>
          <a:xfrm>
            <a:off x="442913" y="1195082"/>
            <a:ext cx="7953403" cy="450939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Package/Librar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8</a:t>
            </a:fld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2576477F-14A5-FE47-D47B-7AFD707A5CCB}"/>
              </a:ext>
            </a:extLst>
          </p:cNvPr>
          <p:cNvSpPr/>
          <p:nvPr/>
        </p:nvSpPr>
        <p:spPr>
          <a:xfrm>
            <a:off x="625462" y="1908626"/>
            <a:ext cx="5184307" cy="1867255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Function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05303CB-C4B1-D4A5-B96C-C25B933D9B14}"/>
              </a:ext>
            </a:extLst>
          </p:cNvPr>
          <p:cNvSpPr/>
          <p:nvPr/>
        </p:nvSpPr>
        <p:spPr>
          <a:xfrm>
            <a:off x="726654" y="2393726"/>
            <a:ext cx="4835921" cy="1223778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C9E0FC3D-7ADF-2BAD-4310-4DD3831BC002}"/>
              </a:ext>
            </a:extLst>
          </p:cNvPr>
          <p:cNvSpPr/>
          <p:nvPr/>
        </p:nvSpPr>
        <p:spPr>
          <a:xfrm>
            <a:off x="3566958" y="2829711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C5902D4D-400C-1FDC-ABBE-25BDCA6F4D95}"/>
              </a:ext>
            </a:extLst>
          </p:cNvPr>
          <p:cNvSpPr/>
          <p:nvPr/>
        </p:nvSpPr>
        <p:spPr>
          <a:xfrm>
            <a:off x="1256682" y="2829711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me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39B4BA39-E635-E1E6-AC97-5A97B4504B80}"/>
              </a:ext>
            </a:extLst>
          </p:cNvPr>
          <p:cNvSpPr/>
          <p:nvPr/>
        </p:nvSpPr>
        <p:spPr>
          <a:xfrm>
            <a:off x="726654" y="4053489"/>
            <a:ext cx="5083115" cy="500740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Function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A2B9FFA-05D2-E88A-3293-7FCBB4B1D0E4}"/>
              </a:ext>
            </a:extLst>
          </p:cNvPr>
          <p:cNvCxnSpPr>
            <a:cxnSpLocks/>
          </p:cNvCxnSpPr>
          <p:nvPr/>
        </p:nvCxnSpPr>
        <p:spPr>
          <a:xfrm flipV="1">
            <a:off x="5320075" y="2343825"/>
            <a:ext cx="1278841" cy="8214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3A11212-F086-3558-4945-6FF943CA419A}"/>
              </a:ext>
            </a:extLst>
          </p:cNvPr>
          <p:cNvCxnSpPr>
            <a:cxnSpLocks/>
          </p:cNvCxnSpPr>
          <p:nvPr/>
        </p:nvCxnSpPr>
        <p:spPr>
          <a:xfrm>
            <a:off x="7398455" y="2574812"/>
            <a:ext cx="11148" cy="7101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91B3729B-3457-D6EB-2BFA-017988EAFE6F}"/>
              </a:ext>
            </a:extLst>
          </p:cNvPr>
          <p:cNvSpPr/>
          <p:nvPr/>
        </p:nvSpPr>
        <p:spPr>
          <a:xfrm>
            <a:off x="3566957" y="4122773"/>
            <a:ext cx="1753117" cy="362172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ariable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DD38FB7D-7881-0D22-A767-772669C42C92}"/>
              </a:ext>
            </a:extLst>
          </p:cNvPr>
          <p:cNvSpPr/>
          <p:nvPr/>
        </p:nvSpPr>
        <p:spPr>
          <a:xfrm>
            <a:off x="726654" y="4677594"/>
            <a:ext cx="5083115" cy="500740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…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E8FA466A-5119-9C42-2861-F14706AEC71E}"/>
              </a:ext>
            </a:extLst>
          </p:cNvPr>
          <p:cNvSpPr/>
          <p:nvPr/>
        </p:nvSpPr>
        <p:spPr>
          <a:xfrm>
            <a:off x="3566957" y="4746878"/>
            <a:ext cx="1753117" cy="362172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C2B0172A-180F-4B57-2331-46A016B5A2BA}"/>
              </a:ext>
            </a:extLst>
          </p:cNvPr>
          <p:cNvSpPr/>
          <p:nvPr/>
        </p:nvSpPr>
        <p:spPr>
          <a:xfrm>
            <a:off x="6524435" y="2212640"/>
            <a:ext cx="1753117" cy="36217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ustom Type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8C39DD5A-E0D6-00FB-6095-ACB51A7B7A5E}"/>
              </a:ext>
            </a:extLst>
          </p:cNvPr>
          <p:cNvSpPr/>
          <p:nvPr/>
        </p:nvSpPr>
        <p:spPr>
          <a:xfrm>
            <a:off x="6561676" y="3155408"/>
            <a:ext cx="1753117" cy="362172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thod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941DC4DA-8046-86F6-EE35-BE88F75D92F4}"/>
              </a:ext>
            </a:extLst>
          </p:cNvPr>
          <p:cNvSpPr/>
          <p:nvPr/>
        </p:nvSpPr>
        <p:spPr>
          <a:xfrm>
            <a:off x="6561676" y="3566706"/>
            <a:ext cx="1753117" cy="362172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pic>
        <p:nvPicPr>
          <p:cNvPr id="59" name="Picture 58" descr="A close-up of a sign&#10;&#10;Description automatically generated">
            <a:extLst>
              <a:ext uri="{FF2B5EF4-FFF2-40B4-BE49-F238E27FC236}">
                <a16:creationId xmlns:a16="http://schemas.microsoft.com/office/drawing/2014/main" id="{2C238A85-B514-2FAC-ACFD-5475CDAE75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7482" y="2948528"/>
            <a:ext cx="3328998" cy="5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461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Let’s take a brea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244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Python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6774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bout at </a:t>
            </a:r>
            <a:r>
              <a:rPr lang="en-GB" dirty="0" err="1"/>
              <a:t>Acin</a:t>
            </a:r>
            <a:r>
              <a:rPr lang="en-GB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23347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 @ </a:t>
            </a:r>
            <a:r>
              <a:rPr lang="en-GB" dirty="0" err="1"/>
              <a:t>Acin</a:t>
            </a:r>
            <a:r>
              <a:rPr lang="en-GB" dirty="0"/>
              <a:t> No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Use cases</a:t>
            </a:r>
          </a:p>
        </p:txBody>
      </p:sp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2050613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Metrics Development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669215" y="4383714"/>
            <a:ext cx="189366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Productionize Metrics and Mode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638999"/>
            <a:ext cx="166762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N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1934994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Ad-Hoc Data Analysis and Visualization</a:t>
            </a:r>
          </a:p>
        </p:txBody>
      </p:sp>
      <p:pic>
        <p:nvPicPr>
          <p:cNvPr id="22" name="Picture 21" descr="A diagram of a machine&#10;&#10;Description automatically generated">
            <a:extLst>
              <a:ext uri="{FF2B5EF4-FFF2-40B4-BE49-F238E27FC236}">
                <a16:creationId xmlns:a16="http://schemas.microsoft.com/office/drawing/2014/main" id="{62645DEC-1A34-B713-F97E-40BF01056F1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895" y="3851734"/>
            <a:ext cx="2155141" cy="2182307"/>
          </a:xfrm>
          <a:prstGeom prst="rect">
            <a:avLst/>
          </a:prstGeom>
        </p:spPr>
      </p:pic>
      <p:pic>
        <p:nvPicPr>
          <p:cNvPr id="24" name="Picture 2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5598332-CAB2-880E-F0FE-2437D8168E1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072" y="1039952"/>
            <a:ext cx="2376236" cy="2376236"/>
          </a:xfrm>
          <a:prstGeom prst="rect">
            <a:avLst/>
          </a:prstGeom>
        </p:spPr>
      </p:pic>
      <p:pic>
        <p:nvPicPr>
          <p:cNvPr id="27" name="Picture 26" descr="A blue logo with a black background&#10;&#10;Description automatically generated">
            <a:extLst>
              <a:ext uri="{FF2B5EF4-FFF2-40B4-BE49-F238E27FC236}">
                <a16:creationId xmlns:a16="http://schemas.microsoft.com/office/drawing/2014/main" id="{03140AEE-E5AB-62E6-1FA3-E2F0FCD5478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90" y="3817888"/>
            <a:ext cx="2155141" cy="215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718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8016578" y="2046717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4468680" y="20221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918848" y="2008219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 @ </a:t>
            </a:r>
            <a:r>
              <a:rPr lang="en-GB" dirty="0" err="1"/>
              <a:t>Acin</a:t>
            </a:r>
            <a:r>
              <a:rPr lang="en-GB" dirty="0"/>
              <a:t> – For the Fu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at’s next</a:t>
            </a:r>
          </a:p>
        </p:txBody>
      </p:sp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354" y="3194423"/>
            <a:ext cx="2540130" cy="127006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966" y="2058260"/>
            <a:ext cx="1191995" cy="1191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8707951" y="2895853"/>
            <a:ext cx="179127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Control Quantifi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5260084" y="2993795"/>
            <a:ext cx="166762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 err="1"/>
              <a:t>Acin</a:t>
            </a:r>
            <a:r>
              <a:rPr lang="en-US" b="1" dirty="0"/>
              <a:t> Chatbo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494D45-EB68-6292-243E-D90DA7E1D0A8}"/>
              </a:ext>
            </a:extLst>
          </p:cNvPr>
          <p:cNvSpPr txBox="1"/>
          <p:nvPr/>
        </p:nvSpPr>
        <p:spPr>
          <a:xfrm>
            <a:off x="1692773" y="2637375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Towards</a:t>
            </a:r>
          </a:p>
          <a:p>
            <a:pPr algn="ctr"/>
            <a:r>
              <a:rPr lang="en-US" b="1" dirty="0"/>
              <a:t>“Automated” Networking</a:t>
            </a:r>
          </a:p>
        </p:txBody>
      </p:sp>
      <p:pic>
        <p:nvPicPr>
          <p:cNvPr id="7" name="Picture 6" descr="A network of circles and lines&#10;&#10;Description automatically generated">
            <a:extLst>
              <a:ext uri="{FF2B5EF4-FFF2-40B4-BE49-F238E27FC236}">
                <a16:creationId xmlns:a16="http://schemas.microsoft.com/office/drawing/2014/main" id="{1696A3D2-541B-D80C-041E-A56663C6421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578" y="1951327"/>
            <a:ext cx="2708018" cy="2535382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DDF7BB2-2B5B-820A-4A00-D8B735FB88C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220" y="2054657"/>
            <a:ext cx="2358736" cy="2358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921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9486C850-C5A6-F480-BFD8-3C2AEE8ABAA6}"/>
              </a:ext>
            </a:extLst>
          </p:cNvPr>
          <p:cNvSpPr/>
          <p:nvPr/>
        </p:nvSpPr>
        <p:spPr>
          <a:xfrm>
            <a:off x="737755" y="1838607"/>
            <a:ext cx="10733809" cy="2816520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8016578" y="2046717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>
                <a:alpha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DDF7BB2-2B5B-820A-4A00-D8B735FB88C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220" y="2054657"/>
            <a:ext cx="2358736" cy="2358736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4468680" y="20221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>
                <a:alpha val="2512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918848" y="2008219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>
                <a:alpha val="250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 @ </a:t>
            </a:r>
            <a:r>
              <a:rPr lang="en-GB" dirty="0" err="1"/>
              <a:t>Acin</a:t>
            </a:r>
            <a:r>
              <a:rPr lang="en-GB" dirty="0"/>
              <a:t> – For the Fu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at’s next</a:t>
            </a:r>
          </a:p>
        </p:txBody>
      </p:sp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354" y="3194423"/>
            <a:ext cx="2540130" cy="127006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966" y="2058260"/>
            <a:ext cx="1191995" cy="1191995"/>
          </a:xfrm>
          <a:prstGeom prst="rect">
            <a:avLst/>
          </a:prstGeom>
        </p:spPr>
      </p:pic>
      <p:pic>
        <p:nvPicPr>
          <p:cNvPr id="7" name="Picture 6" descr="A network of circles and lines&#10;&#10;Description automatically generated">
            <a:extLst>
              <a:ext uri="{FF2B5EF4-FFF2-40B4-BE49-F238E27FC236}">
                <a16:creationId xmlns:a16="http://schemas.microsoft.com/office/drawing/2014/main" id="{1696A3D2-541B-D80C-041E-A56663C6421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578" y="1951327"/>
            <a:ext cx="2708018" cy="25353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3334AA8-59FD-D7D2-2A78-572682B68965}"/>
              </a:ext>
            </a:extLst>
          </p:cNvPr>
          <p:cNvSpPr txBox="1"/>
          <p:nvPr/>
        </p:nvSpPr>
        <p:spPr>
          <a:xfrm>
            <a:off x="1844578" y="3018581"/>
            <a:ext cx="89257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/>
              <a:t>Embracing Large Language Models</a:t>
            </a:r>
          </a:p>
        </p:txBody>
      </p:sp>
    </p:spTree>
    <p:extLst>
      <p:ext uri="{BB962C8B-B14F-4D97-AF65-F5344CB8AC3E}">
        <p14:creationId xmlns:p14="http://schemas.microsoft.com/office/powerpoint/2010/main" val="19738861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right, let’s </a:t>
            </a:r>
            <a:r>
              <a:rPr lang="en-US" i="1" dirty="0"/>
              <a:t>really </a:t>
            </a:r>
            <a:r>
              <a:rPr lang="en-US" dirty="0"/>
              <a:t>get coding!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021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5" name="Picture 34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35905036-B69B-230D-8D08-83B4B9A26E9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888" y="3929736"/>
            <a:ext cx="2898520" cy="1819783"/>
          </a:xfrm>
          <a:prstGeom prst="rect">
            <a:avLst/>
          </a:prstGeom>
        </p:spPr>
      </p:pic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9EEF764-30D2-4483-6572-8C63E37815F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977" y="1125261"/>
            <a:ext cx="2977567" cy="2233175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4" name="Picture 23" descr="A screenshot of a computer&#10;&#10;Description automatically generated">
            <a:extLst>
              <a:ext uri="{FF2B5EF4-FFF2-40B4-BE49-F238E27FC236}">
                <a16:creationId xmlns:a16="http://schemas.microsoft.com/office/drawing/2014/main" id="{9F07E230-896A-1BE1-A4B4-77F3B8342EA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014" y="3747698"/>
            <a:ext cx="2517470" cy="2325607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Mini-Tas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5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1912113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Plotting with Pandas and Matplotli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720396" y="4239464"/>
            <a:ext cx="1667628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Statistical Modelling (Group Activity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500500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Handling Missing Data</a:t>
            </a:r>
          </a:p>
        </p:txBody>
      </p:sp>
      <p:pic>
        <p:nvPicPr>
          <p:cNvPr id="27" name="Picture 26" descr="A screenshot of a data table&#10;&#10;Description automatically generated">
            <a:extLst>
              <a:ext uri="{FF2B5EF4-FFF2-40B4-BE49-F238E27FC236}">
                <a16:creationId xmlns:a16="http://schemas.microsoft.com/office/drawing/2014/main" id="{3918D8A3-6C32-EBD3-8901-1DD4BB90902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179" y="1324539"/>
            <a:ext cx="3094689" cy="181978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2073494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Data Querying</a:t>
            </a:r>
          </a:p>
        </p:txBody>
      </p:sp>
    </p:spTree>
    <p:extLst>
      <p:ext uri="{BB962C8B-B14F-4D97-AF65-F5344CB8AC3E}">
        <p14:creationId xmlns:p14="http://schemas.microsoft.com/office/powerpoint/2010/main" val="26849498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LIN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9981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Question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50074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E3B0CF-A863-C146-943D-5256A949F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B70CED-8214-FD4A-B0A3-0DC7115F3E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3097B-D28E-F847-9DF3-3A90101095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4" y="4350818"/>
            <a:ext cx="2343091" cy="901588"/>
          </a:xfrm>
        </p:spPr>
        <p:txBody>
          <a:bodyPr>
            <a:normAutofit lnSpcReduction="10000"/>
          </a:bodyPr>
          <a:lstStyle/>
          <a:p>
            <a:r>
              <a:rPr lang="en-GB" dirty="0"/>
              <a:t>Email Us</a:t>
            </a:r>
          </a:p>
          <a:p>
            <a:r>
              <a:rPr lang="en-GB" b="0" dirty="0"/>
              <a:t>For follow-up enquiries:</a:t>
            </a:r>
            <a:br>
              <a:rPr lang="en-GB" b="0" dirty="0"/>
            </a:br>
            <a:r>
              <a:rPr lang="en-GB" b="0" dirty="0">
                <a:hlinkClick r:id="rId3"/>
              </a:rPr>
              <a:t>toby.lewis@acin.com</a:t>
            </a:r>
            <a:endParaRPr lang="en-GB" b="0" dirty="0"/>
          </a:p>
          <a:p>
            <a:r>
              <a:rPr lang="en-GB" b="0" dirty="0">
                <a:hlinkClick r:id="rId4"/>
              </a:rPr>
              <a:t>Kieran.baker@acin.com</a:t>
            </a:r>
            <a:endParaRPr lang="en-GB" b="0" dirty="0"/>
          </a:p>
          <a:p>
            <a:endParaRPr lang="en-GB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5C0B73-9346-4C4F-BB4D-FE37AA3F4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7592" y="4351338"/>
            <a:ext cx="2342570" cy="901700"/>
          </a:xfrm>
        </p:spPr>
        <p:txBody>
          <a:bodyPr>
            <a:normAutofit/>
          </a:bodyPr>
          <a:lstStyle/>
          <a:p>
            <a:r>
              <a:rPr lang="en-GB" sz="1500" dirty="0"/>
              <a:t>Call Us</a:t>
            </a:r>
            <a:br>
              <a:rPr lang="en-GB" sz="1500" dirty="0"/>
            </a:br>
            <a:r>
              <a:rPr lang="en-GB" sz="1500" b="0" dirty="0"/>
              <a:t>Speak with us:</a:t>
            </a:r>
            <a:br>
              <a:rPr lang="en-GB" sz="1500" b="0" dirty="0"/>
            </a:br>
            <a:r>
              <a:rPr lang="en-GB" sz="1500" b="0" strike="sngStrike" dirty="0"/>
              <a:t>0203 728 858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12D9C-2F0F-C942-8FAD-477FEB42AB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749" y="4350818"/>
            <a:ext cx="3792426" cy="901700"/>
          </a:xfrm>
        </p:spPr>
        <p:txBody>
          <a:bodyPr>
            <a:noAutofit/>
          </a:bodyPr>
          <a:lstStyle/>
          <a:p>
            <a:r>
              <a:rPr lang="en-GB" sz="1500" dirty="0"/>
              <a:t>Find Us (At least twice a month)</a:t>
            </a:r>
            <a:br>
              <a:rPr lang="en-GB" sz="1500" dirty="0"/>
            </a:br>
            <a:r>
              <a:rPr lang="en-US" sz="1500" b="0" dirty="0" err="1"/>
              <a:t>Acin</a:t>
            </a:r>
            <a:r>
              <a:rPr lang="en-US" sz="1500" b="0" dirty="0"/>
              <a:t>, Level 1, Equitable House</a:t>
            </a:r>
            <a:br>
              <a:rPr lang="en-US" sz="1500" b="0" dirty="0"/>
            </a:br>
            <a:r>
              <a:rPr lang="en-US" sz="1500" b="0" dirty="0"/>
              <a:t>47 King William Street, London, EC4R 9AF</a:t>
            </a:r>
            <a:endParaRPr lang="en-GB" sz="1500" b="0" dirty="0"/>
          </a:p>
        </p:txBody>
      </p:sp>
    </p:spTree>
    <p:extLst>
      <p:ext uri="{BB962C8B-B14F-4D97-AF65-F5344CB8AC3E}">
        <p14:creationId xmlns:p14="http://schemas.microsoft.com/office/powerpoint/2010/main" val="538400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rogramming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0480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rawing Distinc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43D38C8-8634-DC5B-093B-8D7D07606DE5}"/>
              </a:ext>
            </a:extLst>
          </p:cNvPr>
          <p:cNvSpPr txBox="1"/>
          <p:nvPr/>
        </p:nvSpPr>
        <p:spPr>
          <a:xfrm>
            <a:off x="632178" y="1070150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puter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0468CA2-19BE-80CB-1A85-775E93B43624}"/>
              </a:ext>
            </a:extLst>
          </p:cNvPr>
          <p:cNvSpPr/>
          <p:nvPr/>
        </p:nvSpPr>
        <p:spPr>
          <a:xfrm>
            <a:off x="7055556" y="1730633"/>
            <a:ext cx="4583289" cy="3471334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4AAFA3D-62C3-F782-E11B-B4329A37D99C}"/>
              </a:ext>
            </a:extLst>
          </p:cNvPr>
          <p:cNvSpPr/>
          <p:nvPr/>
        </p:nvSpPr>
        <p:spPr>
          <a:xfrm>
            <a:off x="7238619" y="1990651"/>
            <a:ext cx="1309701" cy="1328281"/>
          </a:xfrm>
          <a:prstGeom prst="roundRect">
            <a:avLst>
              <a:gd name="adj" fmla="val 9901"/>
            </a:avLst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4B4081B1-C6EA-96AD-D425-1B99423E169F}"/>
              </a:ext>
            </a:extLst>
          </p:cNvPr>
          <p:cNvSpPr/>
          <p:nvPr/>
        </p:nvSpPr>
        <p:spPr>
          <a:xfrm>
            <a:off x="8705361" y="1990651"/>
            <a:ext cx="1309701" cy="1328281"/>
          </a:xfrm>
          <a:prstGeom prst="roundRect">
            <a:avLst>
              <a:gd name="adj" fmla="val 8934"/>
            </a:avLst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7C725654-A593-224D-26ED-1F83C54F1D24}"/>
              </a:ext>
            </a:extLst>
          </p:cNvPr>
          <p:cNvSpPr/>
          <p:nvPr/>
        </p:nvSpPr>
        <p:spPr>
          <a:xfrm>
            <a:off x="10172103" y="1994458"/>
            <a:ext cx="1309701" cy="1328281"/>
          </a:xfrm>
          <a:prstGeom prst="roundRect">
            <a:avLst>
              <a:gd name="adj" fmla="val 6967"/>
            </a:avLst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FE0D3F2-9D41-9A05-F495-CB198E880A76}"/>
              </a:ext>
            </a:extLst>
          </p:cNvPr>
          <p:cNvSpPr/>
          <p:nvPr/>
        </p:nvSpPr>
        <p:spPr>
          <a:xfrm>
            <a:off x="7379749" y="2184859"/>
            <a:ext cx="470381" cy="9398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69D72B27-35A8-786B-17FD-0CFB4581A093}"/>
              </a:ext>
            </a:extLst>
          </p:cNvPr>
          <p:cNvSpPr/>
          <p:nvPr/>
        </p:nvSpPr>
        <p:spPr>
          <a:xfrm>
            <a:off x="7918273" y="2184859"/>
            <a:ext cx="470381" cy="9398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C4B08012-A39C-FC7F-F5DD-80E0EA8688DE}"/>
              </a:ext>
            </a:extLst>
          </p:cNvPr>
          <p:cNvSpPr/>
          <p:nvPr/>
        </p:nvSpPr>
        <p:spPr>
          <a:xfrm>
            <a:off x="8848361" y="2184859"/>
            <a:ext cx="470381" cy="9398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1FE9C064-69EA-BBB3-F58E-45896870AA74}"/>
              </a:ext>
            </a:extLst>
          </p:cNvPr>
          <p:cNvSpPr/>
          <p:nvPr/>
        </p:nvSpPr>
        <p:spPr>
          <a:xfrm>
            <a:off x="9386885" y="2184859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148AF71C-4925-BB0F-7B84-2737DDC308E3}"/>
              </a:ext>
            </a:extLst>
          </p:cNvPr>
          <p:cNvSpPr/>
          <p:nvPr/>
        </p:nvSpPr>
        <p:spPr>
          <a:xfrm>
            <a:off x="9391333" y="2679051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75284270-D6DF-C676-1DC4-67DB64AF0E32}"/>
              </a:ext>
            </a:extLst>
          </p:cNvPr>
          <p:cNvSpPr/>
          <p:nvPr/>
        </p:nvSpPr>
        <p:spPr>
          <a:xfrm>
            <a:off x="10315273" y="2184859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43734A99-C410-5B52-37FD-D2196EB0D780}"/>
              </a:ext>
            </a:extLst>
          </p:cNvPr>
          <p:cNvSpPr/>
          <p:nvPr/>
        </p:nvSpPr>
        <p:spPr>
          <a:xfrm>
            <a:off x="10319721" y="2679051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A675744-DCD2-EB00-0D47-70247A0BF8B8}"/>
              </a:ext>
            </a:extLst>
          </p:cNvPr>
          <p:cNvSpPr/>
          <p:nvPr/>
        </p:nvSpPr>
        <p:spPr>
          <a:xfrm>
            <a:off x="10848081" y="2184859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98D47C9F-9EF5-3CF0-D692-3BFD924B1B89}"/>
              </a:ext>
            </a:extLst>
          </p:cNvPr>
          <p:cNvSpPr/>
          <p:nvPr/>
        </p:nvSpPr>
        <p:spPr>
          <a:xfrm>
            <a:off x="10852529" y="2679051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49" name="Group 2048">
            <a:extLst>
              <a:ext uri="{FF2B5EF4-FFF2-40B4-BE49-F238E27FC236}">
                <a16:creationId xmlns:a16="http://schemas.microsoft.com/office/drawing/2014/main" id="{530CB3BE-9939-D212-3392-5AAE4C74845B}"/>
              </a:ext>
            </a:extLst>
          </p:cNvPr>
          <p:cNvGrpSpPr/>
          <p:nvPr/>
        </p:nvGrpSpPr>
        <p:grpSpPr>
          <a:xfrm>
            <a:off x="8709423" y="3263250"/>
            <a:ext cx="1500733" cy="1729811"/>
            <a:chOff x="7959114" y="3229690"/>
            <a:chExt cx="1500733" cy="1729811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F08F22F8-7349-7B82-A988-3FF6E36272F1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56" name="Picture 8" descr="Java logo and symbol, meaning, history, PNG">
              <a:extLst>
                <a:ext uri="{FF2B5EF4-FFF2-40B4-BE49-F238E27FC236}">
                  <a16:creationId xmlns:a16="http://schemas.microsoft.com/office/drawing/2014/main" id="{6502BD48-33D5-DE51-1FF9-8B86A16316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Spotify logo transparent PNG 22100989 PNG">
              <a:extLst>
                <a:ext uri="{FF2B5EF4-FFF2-40B4-BE49-F238E27FC236}">
                  <a16:creationId xmlns:a16="http://schemas.microsoft.com/office/drawing/2014/main" id="{66D8BF23-53C8-3B25-EE06-DEBAC6D4CC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657A77F9-52EE-6928-ACA0-89C3B8ADAC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2" name="Picture 14" descr="Scala logo">
              <a:extLst>
                <a:ext uri="{FF2B5EF4-FFF2-40B4-BE49-F238E27FC236}">
                  <a16:creationId xmlns:a16="http://schemas.microsoft.com/office/drawing/2014/main" id="{35845D96-39B7-3DA9-A268-E374E2E89B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8" name="Picture 2047">
              <a:extLst>
                <a:ext uri="{FF2B5EF4-FFF2-40B4-BE49-F238E27FC236}">
                  <a16:creationId xmlns:a16="http://schemas.microsoft.com/office/drawing/2014/main" id="{CA6D2D7D-CEF1-CEB0-53D7-0BB975631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sp>
        <p:nvSpPr>
          <p:cNvPr id="2051" name="Text Placeholder 7">
            <a:extLst>
              <a:ext uri="{FF2B5EF4-FFF2-40B4-BE49-F238E27FC236}">
                <a16:creationId xmlns:a16="http://schemas.microsoft.com/office/drawing/2014/main" id="{61004DBD-A6EC-393D-5EC9-5667CC430849}"/>
              </a:ext>
            </a:extLst>
          </p:cNvPr>
          <p:cNvSpPr txBox="1">
            <a:spLocks/>
          </p:cNvSpPr>
          <p:nvPr/>
        </p:nvSpPr>
        <p:spPr>
          <a:xfrm>
            <a:off x="749724" y="1453765"/>
            <a:ext cx="5710384" cy="125839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Machine that takes inputs and calculates output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Hardware – runs ‘computations’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OS – used to manage software and user interaction with the hardware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Information stored and processed as </a:t>
            </a:r>
            <a:r>
              <a:rPr lang="en-GB" sz="1400" b="1" dirty="0"/>
              <a:t>binary</a:t>
            </a:r>
            <a:endParaRPr lang="en-GB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5A328C-EC29-ED96-3D4B-E4C13944C038}"/>
              </a:ext>
            </a:extLst>
          </p:cNvPr>
          <p:cNvSpPr txBox="1"/>
          <p:nvPr/>
        </p:nvSpPr>
        <p:spPr>
          <a:xfrm>
            <a:off x="632178" y="2845328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Program</a:t>
            </a:r>
          </a:p>
        </p:txBody>
      </p:sp>
      <p:sp>
        <p:nvSpPr>
          <p:cNvPr id="2052" name="Text Placeholder 7">
            <a:extLst>
              <a:ext uri="{FF2B5EF4-FFF2-40B4-BE49-F238E27FC236}">
                <a16:creationId xmlns:a16="http://schemas.microsoft.com/office/drawing/2014/main" id="{A477F890-7B2E-CD4F-44FB-1717DE42F5FD}"/>
              </a:ext>
            </a:extLst>
          </p:cNvPr>
          <p:cNvSpPr txBox="1">
            <a:spLocks/>
          </p:cNvSpPr>
          <p:nvPr/>
        </p:nvSpPr>
        <p:spPr>
          <a:xfrm>
            <a:off x="749724" y="3239375"/>
            <a:ext cx="5710384" cy="12507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An OS contains several program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Anything from a full-fledged application to single script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Set of operations/instructions bundled into a useful package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Potentially built using multiple programming languages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29CC126-8EB1-1797-8DC2-007EFEBDF803}"/>
              </a:ext>
            </a:extLst>
          </p:cNvPr>
          <p:cNvSpPr txBox="1"/>
          <p:nvPr/>
        </p:nvSpPr>
        <p:spPr>
          <a:xfrm>
            <a:off x="632178" y="4618869"/>
            <a:ext cx="2839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Programming Language</a:t>
            </a:r>
          </a:p>
        </p:txBody>
      </p:sp>
      <p:sp>
        <p:nvSpPr>
          <p:cNvPr id="2053" name="Text Placeholder 7">
            <a:extLst>
              <a:ext uri="{FF2B5EF4-FFF2-40B4-BE49-F238E27FC236}">
                <a16:creationId xmlns:a16="http://schemas.microsoft.com/office/drawing/2014/main" id="{CD3297F2-CE9B-4D6C-19CA-2136EA13C3B1}"/>
              </a:ext>
            </a:extLst>
          </p:cNvPr>
          <p:cNvSpPr txBox="1">
            <a:spLocks/>
          </p:cNvSpPr>
          <p:nvPr/>
        </p:nvSpPr>
        <p:spPr>
          <a:xfrm>
            <a:off x="749724" y="5015117"/>
            <a:ext cx="5710384" cy="12507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  <a:lvl2pPr marL="44608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2pPr>
            <a:lvl3pPr marL="627063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3pPr>
            <a:lvl4pPr marL="80803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4pPr>
            <a:lvl5pPr marL="984250" indent="-176213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chemeClr val="accent2"/>
              </a:buClr>
            </a:pPr>
            <a:r>
              <a:rPr lang="en-GB" dirty="0"/>
              <a:t>A tool to provide instructions to the computer hardware for execution.</a:t>
            </a:r>
          </a:p>
          <a:p>
            <a:pPr>
              <a:buClr>
                <a:schemeClr val="accent2"/>
              </a:buClr>
            </a:pPr>
            <a:r>
              <a:rPr lang="en-GB" dirty="0"/>
              <a:t>Human readable version of binary code.</a:t>
            </a:r>
          </a:p>
          <a:p>
            <a:pPr>
              <a:buClr>
                <a:schemeClr val="accent2"/>
              </a:buClr>
            </a:pPr>
            <a:r>
              <a:rPr lang="en-GB" dirty="0"/>
              <a:t>Each has strengths and weaknesses – typically task specific</a:t>
            </a:r>
          </a:p>
          <a:p>
            <a:pPr>
              <a:buClr>
                <a:schemeClr val="accent2"/>
              </a:buClr>
            </a:pPr>
            <a:r>
              <a:rPr lang="en-GB" dirty="0"/>
              <a:t>‘Paradigms’ are used to describe language properties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859FC2-4235-A286-0543-8FB59B1E5A5A}"/>
              </a:ext>
            </a:extLst>
          </p:cNvPr>
          <p:cNvCxnSpPr/>
          <p:nvPr/>
        </p:nvCxnSpPr>
        <p:spPr>
          <a:xfrm>
            <a:off x="609507" y="1070150"/>
            <a:ext cx="0" cy="146565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30748F-2895-AF09-11EC-D0326956D05D}"/>
              </a:ext>
            </a:extLst>
          </p:cNvPr>
          <p:cNvCxnSpPr/>
          <p:nvPr/>
        </p:nvCxnSpPr>
        <p:spPr>
          <a:xfrm>
            <a:off x="609507" y="2831805"/>
            <a:ext cx="0" cy="1465652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FB73B2-5D9B-ECE4-F146-1852667CB14C}"/>
              </a:ext>
            </a:extLst>
          </p:cNvPr>
          <p:cNvCxnSpPr/>
          <p:nvPr/>
        </p:nvCxnSpPr>
        <p:spPr>
          <a:xfrm>
            <a:off x="609507" y="4618869"/>
            <a:ext cx="0" cy="1465652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5924C5-CA64-54F8-3B5A-F2A3576C8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3" y="6271316"/>
            <a:ext cx="4269478" cy="198831"/>
          </a:xfrm>
        </p:spPr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C18855-5D83-6BEE-00ED-810361748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547" y="6273433"/>
            <a:ext cx="516751" cy="198831"/>
          </a:xfrm>
        </p:spPr>
        <p:txBody>
          <a:bodyPr/>
          <a:lstStyle/>
          <a:p>
            <a:fld id="{013B09BF-364E-466A-B49B-E1E59D9EB191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8093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68B8AAD-7AC5-4C2C-9A3C-BD91C30760FF}"/>
              </a:ext>
            </a:extLst>
          </p:cNvPr>
          <p:cNvSpPr/>
          <p:nvPr/>
        </p:nvSpPr>
        <p:spPr>
          <a:xfrm>
            <a:off x="637981" y="1514762"/>
            <a:ext cx="2854519" cy="4361188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2BAA271-0D52-4222-B518-AE9B6E2C5D21}"/>
              </a:ext>
            </a:extLst>
          </p:cNvPr>
          <p:cNvSpPr/>
          <p:nvPr/>
        </p:nvSpPr>
        <p:spPr>
          <a:xfrm>
            <a:off x="4618018" y="1514762"/>
            <a:ext cx="3027382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r what exactl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0A690-7C9C-454B-BE52-93A3DE32B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42710F-5152-4325-9C13-587EDA83AC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7981" y="1096834"/>
            <a:ext cx="3528000" cy="417927"/>
          </a:xfrm>
        </p:spPr>
        <p:txBody>
          <a:bodyPr/>
          <a:lstStyle/>
          <a:p>
            <a:r>
              <a:rPr lang="en-GB" dirty="0"/>
              <a:t>General Purpo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12836-90DC-4180-A76F-4E574EC6B3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1881" y="1096834"/>
            <a:ext cx="3528000" cy="417927"/>
          </a:xfrm>
        </p:spPr>
        <p:txBody>
          <a:bodyPr/>
          <a:lstStyle/>
          <a:p>
            <a:r>
              <a:rPr lang="en-GB" dirty="0"/>
              <a:t>Domain Specific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E0E8F28-7E92-901E-0640-D44E3CF19094}"/>
              </a:ext>
            </a:extLst>
          </p:cNvPr>
          <p:cNvSpPr txBox="1">
            <a:spLocks/>
          </p:cNvSpPr>
          <p:nvPr/>
        </p:nvSpPr>
        <p:spPr>
          <a:xfrm>
            <a:off x="442913" y="745193"/>
            <a:ext cx="8064569" cy="4179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4192A1-0D29-9B6B-0B21-742AF019C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334" y="1814321"/>
            <a:ext cx="501877" cy="564668"/>
          </a:xfrm>
          <a:prstGeom prst="rect">
            <a:avLst/>
          </a:prstGeom>
        </p:spPr>
      </p:pic>
      <p:pic>
        <p:nvPicPr>
          <p:cNvPr id="9" name="Picture 8" descr="Java logo and symbol, meaning, history, PNG">
            <a:extLst>
              <a:ext uri="{FF2B5EF4-FFF2-40B4-BE49-F238E27FC236}">
                <a16:creationId xmlns:a16="http://schemas.microsoft.com/office/drawing/2014/main" id="{A9B759D8-040D-956B-7E3D-0CB65C1AE7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7" r="17313"/>
          <a:stretch/>
        </p:blipFill>
        <p:spPr bwMode="auto">
          <a:xfrm>
            <a:off x="1136235" y="2684200"/>
            <a:ext cx="842317" cy="82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Download Python Logo Png Image HQ PNG Image | FreePNGImg">
            <a:extLst>
              <a:ext uri="{FF2B5EF4-FFF2-40B4-BE49-F238E27FC236}">
                <a16:creationId xmlns:a16="http://schemas.microsoft.com/office/drawing/2014/main" id="{55927E94-92FC-9931-CE11-691815CD82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2145568" y="4843881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AAA579F-8ADE-1295-CDA7-05F363E92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961" y="1814321"/>
            <a:ext cx="503684" cy="556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# Logo Download Icon PNG Transparent Background, Free Download #28402 -  FreeIconsPNG">
            <a:extLst>
              <a:ext uri="{FF2B5EF4-FFF2-40B4-BE49-F238E27FC236}">
                <a16:creationId xmlns:a16="http://schemas.microsoft.com/office/drawing/2014/main" id="{9CECC2F9-768C-BD21-F270-678467F1EF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5" r="7544"/>
          <a:stretch/>
        </p:blipFill>
        <p:spPr bwMode="auto">
          <a:xfrm>
            <a:off x="2628900" y="1763145"/>
            <a:ext cx="561975" cy="638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JavaScript Logo transparent PNG - StickPNG">
            <a:extLst>
              <a:ext uri="{FF2B5EF4-FFF2-40B4-BE49-F238E27FC236}">
                <a16:creationId xmlns:a16="http://schemas.microsoft.com/office/drawing/2014/main" id="{37E57725-CF67-10DD-A204-0A4BD6FA6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538" y="2655706"/>
            <a:ext cx="983799" cy="999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4AA64B56-E1B3-FDF0-8FFA-A8A214870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437" y="3936984"/>
            <a:ext cx="727561" cy="47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Download OCaml Logo in SVG Vector or PNG File Format - Logo.wine">
            <a:extLst>
              <a:ext uri="{FF2B5EF4-FFF2-40B4-BE49-F238E27FC236}">
                <a16:creationId xmlns:a16="http://schemas.microsoft.com/office/drawing/2014/main" id="{B689D5DC-5C5F-AB0F-A41D-0B2BAB368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09" y="3604396"/>
            <a:ext cx="1744928" cy="1163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Ruby Logo transparent PNG - StickPNG">
            <a:extLst>
              <a:ext uri="{FF2B5EF4-FFF2-40B4-BE49-F238E27FC236}">
                <a16:creationId xmlns:a16="http://schemas.microsoft.com/office/drawing/2014/main" id="{E21D3DCA-CD9B-3059-AE61-F8B75768F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098" y="4871307"/>
            <a:ext cx="606735" cy="604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1">
            <a:extLst>
              <a:ext uri="{FF2B5EF4-FFF2-40B4-BE49-F238E27FC236}">
                <a16:creationId xmlns:a16="http://schemas.microsoft.com/office/drawing/2014/main" id="{53711D0B-9CBA-46D1-EF52-878CA394DBD7}"/>
              </a:ext>
            </a:extLst>
          </p:cNvPr>
          <p:cNvSpPr/>
          <p:nvPr/>
        </p:nvSpPr>
        <p:spPr>
          <a:xfrm>
            <a:off x="8085478" y="1514761"/>
            <a:ext cx="3027382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tangle: Rounded Corners 11">
            <a:extLst>
              <a:ext uri="{FF2B5EF4-FFF2-40B4-BE49-F238E27FC236}">
                <a16:creationId xmlns:a16="http://schemas.microsoft.com/office/drawing/2014/main" id="{CBD63DC1-FE30-E1AC-801F-C28BD64CF06C}"/>
              </a:ext>
            </a:extLst>
          </p:cNvPr>
          <p:cNvSpPr/>
          <p:nvPr/>
        </p:nvSpPr>
        <p:spPr>
          <a:xfrm>
            <a:off x="4618019" y="3045318"/>
            <a:ext cx="2495568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: Rounded Corners 11">
            <a:extLst>
              <a:ext uri="{FF2B5EF4-FFF2-40B4-BE49-F238E27FC236}">
                <a16:creationId xmlns:a16="http://schemas.microsoft.com/office/drawing/2014/main" id="{9D123657-64A3-9000-311F-6589456C3AC7}"/>
              </a:ext>
            </a:extLst>
          </p:cNvPr>
          <p:cNvSpPr/>
          <p:nvPr/>
        </p:nvSpPr>
        <p:spPr>
          <a:xfrm>
            <a:off x="7514900" y="3044175"/>
            <a:ext cx="3597960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: Rounded Corners 11">
            <a:extLst>
              <a:ext uri="{FF2B5EF4-FFF2-40B4-BE49-F238E27FC236}">
                <a16:creationId xmlns:a16="http://schemas.microsoft.com/office/drawing/2014/main" id="{5E73F707-5A80-E8F6-04E7-AFAFE5DE80FC}"/>
              </a:ext>
            </a:extLst>
          </p:cNvPr>
          <p:cNvSpPr/>
          <p:nvPr/>
        </p:nvSpPr>
        <p:spPr>
          <a:xfrm>
            <a:off x="4613833" y="4609413"/>
            <a:ext cx="1482161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4CA731-E3B7-B51B-54AB-4FC0439754C6}"/>
              </a:ext>
            </a:extLst>
          </p:cNvPr>
          <p:cNvSpPr txBox="1"/>
          <p:nvPr/>
        </p:nvSpPr>
        <p:spPr>
          <a:xfrm>
            <a:off x="4651255" y="1554516"/>
            <a:ext cx="16562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Data Manage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C1E9F2-4A23-9AC9-7DB7-7BEAFC33D0D3}"/>
              </a:ext>
            </a:extLst>
          </p:cNvPr>
          <p:cNvSpPr txBox="1"/>
          <p:nvPr/>
        </p:nvSpPr>
        <p:spPr>
          <a:xfrm>
            <a:off x="8086169" y="1554516"/>
            <a:ext cx="10005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Docu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2D1831-ADA9-55A1-76B0-83A4BA2A33FC}"/>
              </a:ext>
            </a:extLst>
          </p:cNvPr>
          <p:cNvSpPr txBox="1"/>
          <p:nvPr/>
        </p:nvSpPr>
        <p:spPr>
          <a:xfrm>
            <a:off x="4618018" y="3044175"/>
            <a:ext cx="583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hel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94BC6B-C7E2-2B8D-889F-CB958BA96BBA}"/>
              </a:ext>
            </a:extLst>
          </p:cNvPr>
          <p:cNvSpPr txBox="1"/>
          <p:nvPr/>
        </p:nvSpPr>
        <p:spPr>
          <a:xfrm>
            <a:off x="7821169" y="3044175"/>
            <a:ext cx="20553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Numerical Comput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736D13-91F0-D92C-1C2C-4D16F13DDA6A}"/>
              </a:ext>
            </a:extLst>
          </p:cNvPr>
          <p:cNvSpPr txBox="1"/>
          <p:nvPr/>
        </p:nvSpPr>
        <p:spPr>
          <a:xfrm>
            <a:off x="4613833" y="4622139"/>
            <a:ext cx="13594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icrosoft Apps</a:t>
            </a:r>
          </a:p>
        </p:txBody>
      </p:sp>
      <p:pic>
        <p:nvPicPr>
          <p:cNvPr id="1040" name="Picture 16" descr="database sql&quot; Icon - Download for free – Iconduck">
            <a:extLst>
              <a:ext uri="{FF2B5EF4-FFF2-40B4-BE49-F238E27FC236}">
                <a16:creationId xmlns:a16="http://schemas.microsoft.com/office/drawing/2014/main" id="{A3C97A42-C928-9D82-A21B-2FD094DBEE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0398" y="1989076"/>
            <a:ext cx="597288" cy="668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A5D9A004-C5ED-E0B1-F930-3275FFF9F5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844" y="1944254"/>
            <a:ext cx="714056" cy="71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MQL5 Reference - How to use algorithmic/automated trading language for  MetaTrader 5">
            <a:extLst>
              <a:ext uri="{FF2B5EF4-FFF2-40B4-BE49-F238E27FC236}">
                <a16:creationId xmlns:a16="http://schemas.microsoft.com/office/drawing/2014/main" id="{98EDB991-B34F-4989-98B2-EE29C7123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475" y="2029539"/>
            <a:ext cx="1118465" cy="587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TML5 Logo transparent PNG - StickPNG">
            <a:extLst>
              <a:ext uri="{FF2B5EF4-FFF2-40B4-BE49-F238E27FC236}">
                <a16:creationId xmlns:a16="http://schemas.microsoft.com/office/drawing/2014/main" id="{8C047D4B-8CC2-FEB3-1A6D-D554CF27E8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881" y="1938025"/>
            <a:ext cx="823775" cy="82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>
            <a:extLst>
              <a:ext uri="{FF2B5EF4-FFF2-40B4-BE49-F238E27FC236}">
                <a16:creationId xmlns:a16="http://schemas.microsoft.com/office/drawing/2014/main" id="{3A562881-33F4-322F-7F0E-1964FEC61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2781" y="2157825"/>
            <a:ext cx="1061256" cy="44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Markdown - Wikipedia">
            <a:extLst>
              <a:ext uri="{FF2B5EF4-FFF2-40B4-BE49-F238E27FC236}">
                <a16:creationId xmlns:a16="http://schemas.microsoft.com/office/drawing/2014/main" id="{D93B4EE2-3C4B-A645-F0BC-E8C206D2B5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1614" y="2157825"/>
            <a:ext cx="593668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08B0F7B5-5D6D-931E-0F2E-E21E61CE2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3" y="6271316"/>
            <a:ext cx="4269478" cy="198831"/>
          </a:xfrm>
        </p:spPr>
        <p:txBody>
          <a:bodyPr/>
          <a:lstStyle/>
          <a:p>
            <a:r>
              <a:rPr lang="en-GB" dirty="0"/>
              <a:t>© 2023 Acin Limited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18356A1-5436-8782-99A0-DD39F3E948F9}"/>
              </a:ext>
            </a:extLst>
          </p:cNvPr>
          <p:cNvCxnSpPr/>
          <p:nvPr/>
        </p:nvCxnSpPr>
        <p:spPr>
          <a:xfrm flipV="1">
            <a:off x="4064000" y="1096834"/>
            <a:ext cx="0" cy="500822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2" name="Picture 28">
            <a:extLst>
              <a:ext uri="{FF2B5EF4-FFF2-40B4-BE49-F238E27FC236}">
                <a16:creationId xmlns:a16="http://schemas.microsoft.com/office/drawing/2014/main" id="{97DB558A-2BD6-C626-C59D-D6CC35054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740" y="3455388"/>
            <a:ext cx="769762" cy="76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Z shell - Wikipedia">
            <a:extLst>
              <a:ext uri="{FF2B5EF4-FFF2-40B4-BE49-F238E27FC236}">
                <a16:creationId xmlns:a16="http://schemas.microsoft.com/office/drawing/2014/main" id="{7A0F4D43-7705-F832-42B4-EA7E7BEE3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938" y="3471878"/>
            <a:ext cx="1085999" cy="70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>
            <a:extLst>
              <a:ext uri="{FF2B5EF4-FFF2-40B4-BE49-F238E27FC236}">
                <a16:creationId xmlns:a16="http://schemas.microsoft.com/office/drawing/2014/main" id="{73754B31-A8AB-C3E6-A963-BE8E4A0AD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400" y="3543834"/>
            <a:ext cx="741022" cy="57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Matlab logo transparent PNG - StickPNG">
            <a:extLst>
              <a:ext uri="{FF2B5EF4-FFF2-40B4-BE49-F238E27FC236}">
                <a16:creationId xmlns:a16="http://schemas.microsoft.com/office/drawing/2014/main" id="{77D412F8-C5F8-8001-6342-6B546EAA2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616" y="3406100"/>
            <a:ext cx="1366656" cy="100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>
            <a:extLst>
              <a:ext uri="{FF2B5EF4-FFF2-40B4-BE49-F238E27FC236}">
                <a16:creationId xmlns:a16="http://schemas.microsoft.com/office/drawing/2014/main" id="{76920663-6EAC-8E8D-82D1-8141CF49D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9169" y="3575348"/>
            <a:ext cx="1400230" cy="574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" name="Picture 38" descr="vba · GitHub Topics · GitHub">
            <a:extLst>
              <a:ext uri="{FF2B5EF4-FFF2-40B4-BE49-F238E27FC236}">
                <a16:creationId xmlns:a16="http://schemas.microsoft.com/office/drawing/2014/main" id="{9762885B-D09D-3CF9-63AF-D304F0B64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0628" y="5018345"/>
            <a:ext cx="728569" cy="728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: Rounded Corners 11">
            <a:extLst>
              <a:ext uri="{FF2B5EF4-FFF2-40B4-BE49-F238E27FC236}">
                <a16:creationId xmlns:a16="http://schemas.microsoft.com/office/drawing/2014/main" id="{98CA4D2A-EB73-BF01-7679-DB73D86A69D7}"/>
              </a:ext>
            </a:extLst>
          </p:cNvPr>
          <p:cNvSpPr/>
          <p:nvPr/>
        </p:nvSpPr>
        <p:spPr>
          <a:xfrm>
            <a:off x="6523077" y="4624647"/>
            <a:ext cx="2126654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96012F-5560-A888-A0D1-5FA06F1FC734}"/>
              </a:ext>
            </a:extLst>
          </p:cNvPr>
          <p:cNvSpPr txBox="1"/>
          <p:nvPr/>
        </p:nvSpPr>
        <p:spPr>
          <a:xfrm>
            <a:off x="6526656" y="4627767"/>
            <a:ext cx="1768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tatistical Modelling</a:t>
            </a:r>
          </a:p>
        </p:txBody>
      </p:sp>
      <p:sp>
        <p:nvSpPr>
          <p:cNvPr id="29" name="Rectangle: Rounded Corners 11">
            <a:extLst>
              <a:ext uri="{FF2B5EF4-FFF2-40B4-BE49-F238E27FC236}">
                <a16:creationId xmlns:a16="http://schemas.microsoft.com/office/drawing/2014/main" id="{73D15169-658E-C1C9-CCC9-F9480A8EB8D1}"/>
              </a:ext>
            </a:extLst>
          </p:cNvPr>
          <p:cNvSpPr/>
          <p:nvPr/>
        </p:nvSpPr>
        <p:spPr>
          <a:xfrm>
            <a:off x="9090142" y="4622139"/>
            <a:ext cx="2018665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64" name="Picture 40" descr="Stan (software) - Wikipedia">
            <a:extLst>
              <a:ext uri="{FF2B5EF4-FFF2-40B4-BE49-F238E27FC236}">
                <a16:creationId xmlns:a16="http://schemas.microsoft.com/office/drawing/2014/main" id="{A8B12287-83CD-1807-1CBC-C98F174B7B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790" y="5068068"/>
            <a:ext cx="703082" cy="70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44" descr="An Introduction to WinBUGS - PIMS Collaborative Research Group Summer  School on Bayesian Modeling and Computation">
            <a:extLst>
              <a:ext uri="{FF2B5EF4-FFF2-40B4-BE49-F238E27FC236}">
                <a16:creationId xmlns:a16="http://schemas.microsoft.com/office/drawing/2014/main" id="{53CB3D13-BDB4-E797-DAB4-43850B21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576" y="4938664"/>
            <a:ext cx="779455" cy="102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 descr="CSound Icon in File">
            <a:extLst>
              <a:ext uri="{FF2B5EF4-FFF2-40B4-BE49-F238E27FC236}">
                <a16:creationId xmlns:a16="http://schemas.microsoft.com/office/drawing/2014/main" id="{939178A5-EA36-77E1-87F1-D3AE39EA0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695" y="5054059"/>
            <a:ext cx="727558" cy="73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081E998-9F67-3D96-4DFE-FB909FFB49EA}"/>
              </a:ext>
            </a:extLst>
          </p:cNvPr>
          <p:cNvSpPr txBox="1"/>
          <p:nvPr/>
        </p:nvSpPr>
        <p:spPr>
          <a:xfrm>
            <a:off x="9074886" y="4627767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usic Synthesis</a:t>
            </a:r>
          </a:p>
        </p:txBody>
      </p:sp>
    </p:spTree>
    <p:extLst>
      <p:ext uri="{BB962C8B-B14F-4D97-AF65-F5344CB8AC3E}">
        <p14:creationId xmlns:p14="http://schemas.microsoft.com/office/powerpoint/2010/main" val="387189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Levelling U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7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igh level vs low level programming languag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F757ED4-FC10-E7F9-D510-73352B865CB7}"/>
              </a:ext>
            </a:extLst>
          </p:cNvPr>
          <p:cNvCxnSpPr/>
          <p:nvPr/>
        </p:nvCxnSpPr>
        <p:spPr>
          <a:xfrm>
            <a:off x="937355" y="3462072"/>
            <a:ext cx="10317192" cy="0"/>
          </a:xfrm>
          <a:prstGeom prst="line">
            <a:avLst/>
          </a:prstGeom>
          <a:ln w="762000">
            <a:gradFill flip="none" rotWithShape="1">
              <a:gsLst>
                <a:gs pos="50000">
                  <a:srgbClr val="F7BB18"/>
                </a:gs>
                <a:gs pos="0">
                  <a:schemeClr val="accent3"/>
                </a:gs>
                <a:gs pos="100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B3FF7AD-2AB7-89E6-08D5-3B69A95A608F}"/>
              </a:ext>
            </a:extLst>
          </p:cNvPr>
          <p:cNvSpPr txBox="1"/>
          <p:nvPr/>
        </p:nvSpPr>
        <p:spPr>
          <a:xfrm>
            <a:off x="937355" y="1658567"/>
            <a:ext cx="399340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igh Level Programming Languag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-orien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lower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nsparent synta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80A482-AB03-31AB-662F-57F4836F366E}"/>
              </a:ext>
            </a:extLst>
          </p:cNvPr>
          <p:cNvSpPr txBox="1"/>
          <p:nvPr/>
        </p:nvSpPr>
        <p:spPr>
          <a:xfrm>
            <a:off x="7312393" y="1658567"/>
            <a:ext cx="394210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ow Level Programming Languag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chine-orien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st run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btuse syntax</a:t>
            </a:r>
          </a:p>
        </p:txBody>
      </p:sp>
      <p:pic>
        <p:nvPicPr>
          <p:cNvPr id="11" name="Picture 12" descr="Download Python Logo Png Image HQ PNG Image | FreePNGImg">
            <a:extLst>
              <a:ext uri="{FF2B5EF4-FFF2-40B4-BE49-F238E27FC236}">
                <a16:creationId xmlns:a16="http://schemas.microsoft.com/office/drawing/2014/main" id="{0C3C56B4-7AAA-70C5-4627-410155FDF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869229" y="4207083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Ruby Logo transparent PNG - StickPNG">
            <a:extLst>
              <a:ext uri="{FF2B5EF4-FFF2-40B4-BE49-F238E27FC236}">
                <a16:creationId xmlns:a16="http://schemas.microsoft.com/office/drawing/2014/main" id="{569ECCCE-DA98-D14A-F804-D3DBE77BB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094" y="4923130"/>
            <a:ext cx="606735" cy="604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5A15DA86-219B-7637-F69B-B6C2A5D97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97" y="4964103"/>
            <a:ext cx="727561" cy="47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Download OCaml Logo in SVG Vector or PNG File Format - Logo.wine">
            <a:extLst>
              <a:ext uri="{FF2B5EF4-FFF2-40B4-BE49-F238E27FC236}">
                <a16:creationId xmlns:a16="http://schemas.microsoft.com/office/drawing/2014/main" id="{AD9C1EE5-FA03-E29A-1CC6-5D226FD0EE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799" y="3763400"/>
            <a:ext cx="1744928" cy="1163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3C193F-59CD-A5BC-902A-0280FB813A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1607" y="4834968"/>
            <a:ext cx="501877" cy="564668"/>
          </a:xfrm>
          <a:prstGeom prst="rect">
            <a:avLst/>
          </a:prstGeom>
        </p:spPr>
      </p:pic>
      <p:pic>
        <p:nvPicPr>
          <p:cNvPr id="16" name="Picture 4" descr="C# Logo Download Icon PNG Transparent Background, Free Download #28402 -  FreeIconsPNG">
            <a:extLst>
              <a:ext uri="{FF2B5EF4-FFF2-40B4-BE49-F238E27FC236}">
                <a16:creationId xmlns:a16="http://schemas.microsoft.com/office/drawing/2014/main" id="{D63C42F2-E218-4076-A2DD-803D238E44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5" r="7544"/>
          <a:stretch/>
        </p:blipFill>
        <p:spPr bwMode="auto">
          <a:xfrm>
            <a:off x="3441559" y="4017221"/>
            <a:ext cx="561975" cy="638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F3A43CF2-18D9-669A-43BC-4F18DF9AF6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222" y="4017221"/>
            <a:ext cx="503684" cy="556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Assembly Programming - Apps on Google Play">
            <a:extLst>
              <a:ext uri="{FF2B5EF4-FFF2-40B4-BE49-F238E27FC236}">
                <a16:creationId xmlns:a16="http://schemas.microsoft.com/office/drawing/2014/main" id="{5EAE3446-DE84-E72A-1CC7-00ED8E1B4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110" y="4537534"/>
            <a:ext cx="1159535" cy="1159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F359032-00CA-A275-91D4-ED79761D8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0445" y="4166973"/>
            <a:ext cx="1431254" cy="43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24C0B35-DB37-9174-7384-ECC652907263}"/>
              </a:ext>
            </a:extLst>
          </p:cNvPr>
          <p:cNvSpPr txBox="1"/>
          <p:nvPr/>
        </p:nvSpPr>
        <p:spPr>
          <a:xfrm>
            <a:off x="8947616" y="4813771"/>
            <a:ext cx="23751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01000001 01100011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01101001 01101110</a:t>
            </a:r>
          </a:p>
        </p:txBody>
      </p:sp>
    </p:spTree>
    <p:extLst>
      <p:ext uri="{BB962C8B-B14F-4D97-AF65-F5344CB8AC3E}">
        <p14:creationId xmlns:p14="http://schemas.microsoft.com/office/powerpoint/2010/main" val="2115063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Python fit in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</a:t>
            </a:r>
            <a:r>
              <a:rPr lang="en-GB" dirty="0" err="1"/>
              <a:t>Acin</a:t>
            </a:r>
            <a:r>
              <a:rPr lang="en-GB" dirty="0"/>
              <a:t>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786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E371937F-8E6B-4429-B487-9A4EDBB06988}"/>
              </a:ext>
            </a:extLst>
          </p:cNvPr>
          <p:cNvSpPr/>
          <p:nvPr/>
        </p:nvSpPr>
        <p:spPr>
          <a:xfrm>
            <a:off x="1049482" y="3460010"/>
            <a:ext cx="11142518" cy="6337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9C0D5F-9A02-4D7A-B7CE-6CA994C8E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6ED281-0282-4EAB-BFA4-5B728ED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B09BF-364E-466A-B49B-E1E59D9EB19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285A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17FBA45-276E-40A5-BEC0-9E2249E63496}"/>
              </a:ext>
            </a:extLst>
          </p:cNvPr>
          <p:cNvSpPr/>
          <p:nvPr/>
        </p:nvSpPr>
        <p:spPr>
          <a:xfrm rot="10800000" flipH="1" flipV="1">
            <a:off x="129451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0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8A0D056-3633-47E1-8583-841B2C0586FF}"/>
              </a:ext>
            </a:extLst>
          </p:cNvPr>
          <p:cNvSpPr/>
          <p:nvPr/>
        </p:nvSpPr>
        <p:spPr>
          <a:xfrm rot="10800000" flipH="1" flipV="1">
            <a:off x="407142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0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B062EDA-F49E-450F-8B6D-71B9C2337FC6}"/>
              </a:ext>
            </a:extLst>
          </p:cNvPr>
          <p:cNvSpPr/>
          <p:nvPr/>
        </p:nvSpPr>
        <p:spPr>
          <a:xfrm rot="10800000" flipH="1" flipV="1">
            <a:off x="6850846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0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AD186AD-062F-4E5A-AEEA-B56149AA2636}"/>
              </a:ext>
            </a:extLst>
          </p:cNvPr>
          <p:cNvSpPr/>
          <p:nvPr/>
        </p:nvSpPr>
        <p:spPr>
          <a:xfrm rot="10800000" flipH="1" flipV="1">
            <a:off x="963027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47246011-D3B7-4768-AD97-5F00A9DE9292}"/>
              </a:ext>
            </a:extLst>
          </p:cNvPr>
          <p:cNvSpPr/>
          <p:nvPr/>
        </p:nvSpPr>
        <p:spPr>
          <a:xfrm>
            <a:off x="1259882" y="2924966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85F1B5D-46E2-4474-8055-D712BDDDCE4F}"/>
              </a:ext>
            </a:extLst>
          </p:cNvPr>
          <p:cNvSpPr/>
          <p:nvPr/>
        </p:nvSpPr>
        <p:spPr>
          <a:xfrm>
            <a:off x="6588668" y="2872329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90C864B-401A-437C-BAA4-9F47E7D8DEE6}"/>
              </a:ext>
            </a:extLst>
          </p:cNvPr>
          <p:cNvSpPr/>
          <p:nvPr/>
        </p:nvSpPr>
        <p:spPr>
          <a:xfrm>
            <a:off x="10114188" y="2874258"/>
            <a:ext cx="0" cy="362722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206BAD0-168A-4B42-BEFA-E9845127E1E6}"/>
              </a:ext>
            </a:extLst>
          </p:cNvPr>
          <p:cNvSpPr/>
          <p:nvPr/>
        </p:nvSpPr>
        <p:spPr>
          <a:xfrm>
            <a:off x="100497" y="3537765"/>
            <a:ext cx="45719" cy="1782592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97679AC-1740-4107-BB2F-ACF6AA76671A}"/>
              </a:ext>
            </a:extLst>
          </p:cNvPr>
          <p:cNvSpPr/>
          <p:nvPr/>
        </p:nvSpPr>
        <p:spPr>
          <a:xfrm>
            <a:off x="2474614" y="3537261"/>
            <a:ext cx="6177" cy="576000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9A2E46F7-BBDA-4A68-BD14-4CBB057A475E}"/>
              </a:ext>
            </a:extLst>
          </p:cNvPr>
          <p:cNvSpPr/>
          <p:nvPr/>
        </p:nvSpPr>
        <p:spPr>
          <a:xfrm>
            <a:off x="8614923" y="3508154"/>
            <a:ext cx="6177" cy="1664799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9EAAC01-D796-4E0F-BC06-325364C230C8}"/>
              </a:ext>
            </a:extLst>
          </p:cNvPr>
          <p:cNvGrpSpPr/>
          <p:nvPr/>
        </p:nvGrpSpPr>
        <p:grpSpPr>
          <a:xfrm>
            <a:off x="5390360" y="4113261"/>
            <a:ext cx="2056061" cy="1463754"/>
            <a:chOff x="7992385" y="5197044"/>
            <a:chExt cx="2700000" cy="797852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0CF3FE0-86DA-49C8-8A4B-67015CB4996B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8: Python v3 (current-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sh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 released</a:t>
              </a:r>
            </a:p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6A61418-4C4D-43AA-970E-3339071CE8D2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6B40EC-E0CD-449F-B6F4-88853780DC60}"/>
              </a:ext>
            </a:extLst>
          </p:cNvPr>
          <p:cNvGrpSpPr/>
          <p:nvPr/>
        </p:nvGrpSpPr>
        <p:grpSpPr>
          <a:xfrm>
            <a:off x="-55489" y="5325772"/>
            <a:ext cx="2700000" cy="797852"/>
            <a:chOff x="7992385" y="5197044"/>
            <a:chExt cx="2700000" cy="797852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F960233-3D0D-45F8-A347-74A31549FC08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/>
                <a:t>1972: C developed at Bell </a:t>
              </a:r>
              <a:r>
                <a:rPr lang="en-GB" sz="1100" dirty="0" err="1"/>
                <a:t>Labratori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20A4780-2EF1-4C28-9DA9-C9F6BFE6C92D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21C6D6-DD0F-4619-87F3-D094CC30A12F}"/>
              </a:ext>
            </a:extLst>
          </p:cNvPr>
          <p:cNvGrpSpPr/>
          <p:nvPr/>
        </p:nvGrpSpPr>
        <p:grpSpPr>
          <a:xfrm>
            <a:off x="219718" y="2104588"/>
            <a:ext cx="2789294" cy="797852"/>
            <a:chOff x="8287848" y="5144142"/>
            <a:chExt cx="2475809" cy="797852"/>
          </a:xfrm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F33A43FA-EE04-4979-BF6A-8B841240A2C5}"/>
                </a:ext>
              </a:extLst>
            </p:cNvPr>
            <p:cNvSpPr/>
            <p:nvPr/>
          </p:nvSpPr>
          <p:spPr>
            <a:xfrm rot="10800000" flipH="1" flipV="1">
              <a:off x="8287848" y="5144142"/>
              <a:ext cx="2475809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accent2"/>
                </a:buClr>
              </a:pPr>
              <a:r>
                <a:rPr lang="en-GB" sz="1100" dirty="0"/>
                <a:t>1989: First Python implementation lead by creator Guido Van Rossum at Centrum </a:t>
              </a:r>
              <a:r>
                <a:rPr lang="en-GB" sz="1100" dirty="0" err="1"/>
                <a:t>Wiskunde</a:t>
              </a:r>
              <a:r>
                <a:rPr lang="en-GB" sz="1100" dirty="0"/>
                <a:t> &amp; Informatica (CWI)</a:t>
              </a: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49D6EFB-36CF-42A4-9E15-DBCF84EC2F89}"/>
                </a:ext>
              </a:extLst>
            </p:cNvPr>
            <p:cNvSpPr/>
            <p:nvPr/>
          </p:nvSpPr>
          <p:spPr>
            <a:xfrm>
              <a:off x="8319841" y="5317959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2A71B24-FB70-47B2-9458-4D8E68E52D72}"/>
              </a:ext>
            </a:extLst>
          </p:cNvPr>
          <p:cNvGrpSpPr/>
          <p:nvPr/>
        </p:nvGrpSpPr>
        <p:grpSpPr>
          <a:xfrm>
            <a:off x="2195177" y="4013144"/>
            <a:ext cx="2229385" cy="1159809"/>
            <a:chOff x="8002357" y="5197044"/>
            <a:chExt cx="1863161" cy="797852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426E7986-11D1-4EC1-A55B-2BE6613D9B75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1863161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2"/>
                  </a:solidFill>
                </a:rPr>
                <a:t>1991: First iteration published</a:t>
              </a: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8FCE0E3-2E37-4B84-A662-F2D4A65850F2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198CAAC-AAF7-4CB0-A628-F512FF170621}"/>
              </a:ext>
            </a:extLst>
          </p:cNvPr>
          <p:cNvGrpSpPr/>
          <p:nvPr/>
        </p:nvGrpSpPr>
        <p:grpSpPr>
          <a:xfrm>
            <a:off x="10395152" y="4112203"/>
            <a:ext cx="1553984" cy="1271461"/>
            <a:chOff x="8002357" y="5197044"/>
            <a:chExt cx="2690028" cy="797852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CEEF16FD-0314-43BB-9253-EA986F3AC9CD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21: </a:t>
              </a:r>
              <a:r>
                <a:rPr lang="en-GB" sz="1100" dirty="0">
                  <a:solidFill>
                    <a:schemeClr val="tx1"/>
                  </a:solidFill>
                </a:rPr>
                <a:t>Python tops </a:t>
              </a:r>
              <a:r>
                <a:rPr lang="en-GB" sz="1100" dirty="0">
                  <a:solidFill>
                    <a:schemeClr val="tx1"/>
                  </a:solidFill>
                  <a:hlinkClick r:id="rId3"/>
                </a:rPr>
                <a:t>TIOBE</a:t>
              </a:r>
              <a:r>
                <a:rPr lang="en-GB" sz="1100" dirty="0">
                  <a:solidFill>
                    <a:schemeClr val="tx1"/>
                  </a:solidFill>
                </a:rPr>
                <a:t> index of language programming popularity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067C95D-A5DA-4884-A850-BC6E68273A21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56C11E63-FAD2-13C3-6EE6-452929BFA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32361DE-666B-363B-83D1-930A4796657C}"/>
              </a:ext>
            </a:extLst>
          </p:cNvPr>
          <p:cNvSpPr txBox="1">
            <a:spLocks/>
          </p:cNvSpPr>
          <p:nvPr/>
        </p:nvSpPr>
        <p:spPr>
          <a:xfrm>
            <a:off x="371175" y="734376"/>
            <a:ext cx="8064569" cy="4179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A Brief Histo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1A801B-0A28-9552-FA13-F261736921F8}"/>
              </a:ext>
            </a:extLst>
          </p:cNvPr>
          <p:cNvSpPr/>
          <p:nvPr/>
        </p:nvSpPr>
        <p:spPr>
          <a:xfrm>
            <a:off x="-24291" y="3470965"/>
            <a:ext cx="516212" cy="66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AC7F12-DBC1-02C3-0341-2B5C8663B523}"/>
              </a:ext>
            </a:extLst>
          </p:cNvPr>
          <p:cNvSpPr/>
          <p:nvPr/>
        </p:nvSpPr>
        <p:spPr>
          <a:xfrm>
            <a:off x="573947" y="3467325"/>
            <a:ext cx="128374" cy="66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30993-C448-FA2B-6047-DE8A9814767F}"/>
              </a:ext>
            </a:extLst>
          </p:cNvPr>
          <p:cNvSpPr/>
          <p:nvPr/>
        </p:nvSpPr>
        <p:spPr>
          <a:xfrm>
            <a:off x="819237" y="3464011"/>
            <a:ext cx="128374" cy="66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A28BCB1-2EAC-CE14-B325-AD3315305536}"/>
              </a:ext>
            </a:extLst>
          </p:cNvPr>
          <p:cNvGrpSpPr/>
          <p:nvPr/>
        </p:nvGrpSpPr>
        <p:grpSpPr>
          <a:xfrm>
            <a:off x="5725403" y="1698035"/>
            <a:ext cx="1758511" cy="1297625"/>
            <a:chOff x="8049369" y="6994630"/>
            <a:chExt cx="2690028" cy="797852"/>
          </a:xfrm>
        </p:grpSpPr>
        <p:sp>
          <p:nvSpPr>
            <p:cNvPr id="16" name="Rectangle: Rounded Corners 54">
              <a:extLst>
                <a:ext uri="{FF2B5EF4-FFF2-40B4-BE49-F238E27FC236}">
                  <a16:creationId xmlns:a16="http://schemas.microsoft.com/office/drawing/2014/main" id="{FAC83B4E-CD49-B56D-2BDA-6835F8857937}"/>
                </a:ext>
              </a:extLst>
            </p:cNvPr>
            <p:cNvSpPr/>
            <p:nvPr/>
          </p:nvSpPr>
          <p:spPr>
            <a:xfrm rot="10800000" flipH="1" flipV="1">
              <a:off x="8049369" y="6994630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8: First Pandas release</a:t>
              </a:r>
            </a:p>
          </p:txBody>
        </p:sp>
        <p:sp>
          <p:nvSpPr>
            <p:cNvPr id="17" name="Freeform: Shape 55">
              <a:extLst>
                <a:ext uri="{FF2B5EF4-FFF2-40B4-BE49-F238E27FC236}">
                  <a16:creationId xmlns:a16="http://schemas.microsoft.com/office/drawing/2014/main" id="{F80A1B4C-4729-3A03-3343-271AD3B6C4F1}"/>
                </a:ext>
              </a:extLst>
            </p:cNvPr>
            <p:cNvSpPr/>
            <p:nvPr/>
          </p:nvSpPr>
          <p:spPr>
            <a:xfrm>
              <a:off x="8158724" y="7135474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5" name="Picture 24" descr="A green snake with a red tongue&#10;&#10;Description automatically generated">
            <a:extLst>
              <a:ext uri="{FF2B5EF4-FFF2-40B4-BE49-F238E27FC236}">
                <a16:creationId xmlns:a16="http://schemas.microsoft.com/office/drawing/2014/main" id="{05571C99-6F00-BFE8-A621-D8F1199680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227" y="4546694"/>
            <a:ext cx="472147" cy="472147"/>
          </a:xfrm>
          <a:prstGeom prst="rect">
            <a:avLst/>
          </a:prstGeom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45EBA4AB-EDC3-0D99-9116-36FCDCC0F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3015" y="5549434"/>
            <a:ext cx="374906" cy="414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Freeform: Shape 35">
            <a:extLst>
              <a:ext uri="{FF2B5EF4-FFF2-40B4-BE49-F238E27FC236}">
                <a16:creationId xmlns:a16="http://schemas.microsoft.com/office/drawing/2014/main" id="{AE0C4D46-14C2-EA93-754B-D96B9E5B615D}"/>
              </a:ext>
            </a:extLst>
          </p:cNvPr>
          <p:cNvSpPr/>
          <p:nvPr/>
        </p:nvSpPr>
        <p:spPr>
          <a:xfrm>
            <a:off x="4661312" y="2659639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187B17-337C-3F5D-1194-3EDCE9093AA4}"/>
              </a:ext>
            </a:extLst>
          </p:cNvPr>
          <p:cNvGrpSpPr/>
          <p:nvPr/>
        </p:nvGrpSpPr>
        <p:grpSpPr>
          <a:xfrm>
            <a:off x="3317077" y="1892163"/>
            <a:ext cx="2121176" cy="823968"/>
            <a:chOff x="7992385" y="5197044"/>
            <a:chExt cx="2543391" cy="797852"/>
          </a:xfrm>
        </p:grpSpPr>
        <p:sp>
          <p:nvSpPr>
            <p:cNvPr id="29" name="Rectangle: Rounded Corners 51">
              <a:extLst>
                <a:ext uri="{FF2B5EF4-FFF2-40B4-BE49-F238E27FC236}">
                  <a16:creationId xmlns:a16="http://schemas.microsoft.com/office/drawing/2014/main" id="{6AC2F9BD-4C91-F3F4-BBB7-AC2FF01CADD3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543391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100" dirty="0"/>
                <a:t>2000: Python v2 released</a:t>
              </a:r>
            </a:p>
          </p:txBody>
        </p:sp>
        <p:sp>
          <p:nvSpPr>
            <p:cNvPr id="30" name="Freeform: Shape 52">
              <a:extLst>
                <a:ext uri="{FF2B5EF4-FFF2-40B4-BE49-F238E27FC236}">
                  <a16:creationId xmlns:a16="http://schemas.microsoft.com/office/drawing/2014/main" id="{5F462B15-CDCA-6584-BE69-931711CD2339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1" name="Picture 30" descr="A white doted word on a black background&#10;&#10;Description automatically generated">
            <a:extLst>
              <a:ext uri="{FF2B5EF4-FFF2-40B4-BE49-F238E27FC236}">
                <a16:creationId xmlns:a16="http://schemas.microsoft.com/office/drawing/2014/main" id="{E7675744-6705-4CAA-6D39-CEB6B3D982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8329" y="2018549"/>
            <a:ext cx="1281139" cy="720641"/>
          </a:xfrm>
          <a:prstGeom prst="rect">
            <a:avLst/>
          </a:prstGeom>
        </p:spPr>
      </p:pic>
      <p:sp>
        <p:nvSpPr>
          <p:cNvPr id="32" name="Freeform: Shape 38">
            <a:extLst>
              <a:ext uri="{FF2B5EF4-FFF2-40B4-BE49-F238E27FC236}">
                <a16:creationId xmlns:a16="http://schemas.microsoft.com/office/drawing/2014/main" id="{76D236D1-FA44-0A59-2F54-C30BF7C4722E}"/>
              </a:ext>
            </a:extLst>
          </p:cNvPr>
          <p:cNvSpPr/>
          <p:nvPr/>
        </p:nvSpPr>
        <p:spPr>
          <a:xfrm>
            <a:off x="6588668" y="3516418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BEA7C31-0C63-7B92-A261-252F711056A7}"/>
              </a:ext>
            </a:extLst>
          </p:cNvPr>
          <p:cNvGrpSpPr/>
          <p:nvPr/>
        </p:nvGrpSpPr>
        <p:grpSpPr>
          <a:xfrm>
            <a:off x="7835922" y="4724293"/>
            <a:ext cx="1986186" cy="1106803"/>
            <a:chOff x="8049369" y="6994630"/>
            <a:chExt cx="2690028" cy="797852"/>
          </a:xfrm>
        </p:grpSpPr>
        <p:sp>
          <p:nvSpPr>
            <p:cNvPr id="35" name="Rectangle: Rounded Corners 54">
              <a:extLst>
                <a:ext uri="{FF2B5EF4-FFF2-40B4-BE49-F238E27FC236}">
                  <a16:creationId xmlns:a16="http://schemas.microsoft.com/office/drawing/2014/main" id="{D3D57D90-D16E-403F-A6AC-46846FB1F71D}"/>
                </a:ext>
              </a:extLst>
            </p:cNvPr>
            <p:cNvSpPr/>
            <p:nvPr/>
          </p:nvSpPr>
          <p:spPr>
            <a:xfrm rot="10800000" flipH="1" flipV="1">
              <a:off x="8049369" y="6994630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4: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pyter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notebooks first released under ‘Project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pyter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’</a:t>
              </a:r>
            </a:p>
          </p:txBody>
        </p:sp>
        <p:sp>
          <p:nvSpPr>
            <p:cNvPr id="37" name="Freeform: Shape 55">
              <a:extLst>
                <a:ext uri="{FF2B5EF4-FFF2-40B4-BE49-F238E27FC236}">
                  <a16:creationId xmlns:a16="http://schemas.microsoft.com/office/drawing/2014/main" id="{A1FFC765-384D-123E-FE82-9F1F3E939108}"/>
                </a:ext>
              </a:extLst>
            </p:cNvPr>
            <p:cNvSpPr/>
            <p:nvPr/>
          </p:nvSpPr>
          <p:spPr>
            <a:xfrm>
              <a:off x="8158724" y="7135474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8" name="Picture 12" descr="Download Python Logo Png Image HQ PNG Image | FreePNGImg">
            <a:extLst>
              <a:ext uri="{FF2B5EF4-FFF2-40B4-BE49-F238E27FC236}">
                <a16:creationId xmlns:a16="http://schemas.microsoft.com/office/drawing/2014/main" id="{CB053CEF-7625-682F-BA9B-ACB7046083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6604658" y="4737135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DEC048-43BA-D090-CF1A-A5EC592ADB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83477" y="2003207"/>
            <a:ext cx="626352" cy="837796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E8D476F2-306B-235A-D3D9-E082572A47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56423" y="5172953"/>
            <a:ext cx="419100" cy="482600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400B43BF-FDF8-4FB6-F8A4-2239C2DE40E0}"/>
              </a:ext>
            </a:extLst>
          </p:cNvPr>
          <p:cNvGrpSpPr/>
          <p:nvPr/>
        </p:nvGrpSpPr>
        <p:grpSpPr>
          <a:xfrm>
            <a:off x="9050968" y="2350083"/>
            <a:ext cx="2121176" cy="527729"/>
            <a:chOff x="7992385" y="5197044"/>
            <a:chExt cx="2543391" cy="797852"/>
          </a:xfrm>
        </p:grpSpPr>
        <p:sp>
          <p:nvSpPr>
            <p:cNvPr id="70" name="Rectangle: Rounded Corners 51">
              <a:extLst>
                <a:ext uri="{FF2B5EF4-FFF2-40B4-BE49-F238E27FC236}">
                  <a16:creationId xmlns:a16="http://schemas.microsoft.com/office/drawing/2014/main" id="{7ECBEA59-B50B-B5CA-D7A3-AA399DCFE63F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543391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100" dirty="0"/>
                <a:t>2020: Python v2 depreciated</a:t>
              </a:r>
            </a:p>
          </p:txBody>
        </p:sp>
        <p:sp>
          <p:nvSpPr>
            <p:cNvPr id="71" name="Freeform: Shape 52">
              <a:extLst>
                <a:ext uri="{FF2B5EF4-FFF2-40B4-BE49-F238E27FC236}">
                  <a16:creationId xmlns:a16="http://schemas.microsoft.com/office/drawing/2014/main" id="{15AE6500-62FA-C3A3-3C6A-CD75484E0E3D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2" name="Freeform: Shape 38">
            <a:extLst>
              <a:ext uri="{FF2B5EF4-FFF2-40B4-BE49-F238E27FC236}">
                <a16:creationId xmlns:a16="http://schemas.microsoft.com/office/drawing/2014/main" id="{85A0FA00-FA4E-7773-7BA1-9B9A08DD81E5}"/>
              </a:ext>
            </a:extLst>
          </p:cNvPr>
          <p:cNvSpPr/>
          <p:nvPr/>
        </p:nvSpPr>
        <p:spPr>
          <a:xfrm>
            <a:off x="10850026" y="3516417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1532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IN">
      <a:dk1>
        <a:srgbClr val="484873"/>
      </a:dk1>
      <a:lt1>
        <a:sysClr val="window" lastClr="FFFFFF"/>
      </a:lt1>
      <a:dk2>
        <a:srgbClr val="28285A"/>
      </a:dk2>
      <a:lt2>
        <a:srgbClr val="F2F2F2"/>
      </a:lt2>
      <a:accent1>
        <a:srgbClr val="00AEEF"/>
      </a:accent1>
      <a:accent2>
        <a:srgbClr val="6161FF"/>
      </a:accent2>
      <a:accent3>
        <a:srgbClr val="1DE9AE"/>
      </a:accent3>
      <a:accent4>
        <a:srgbClr val="CB7EFC"/>
      </a:accent4>
      <a:accent5>
        <a:srgbClr val="FF9673"/>
      </a:accent5>
      <a:accent6>
        <a:srgbClr val="0A78EB"/>
      </a:accent6>
      <a:hlink>
        <a:srgbClr val="00AEEF"/>
      </a:hlink>
      <a:folHlink>
        <a:srgbClr val="28285A"/>
      </a:folHlink>
    </a:clrScheme>
    <a:fontScheme name="AC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188E807-A947-400A-B90C-FC192187CAA4}" vid="{2AABD37C-C807-4396-AA7C-D8CC4BAA2A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058ed9-a6ef-478b-ad4a-b3737a97ccd4" xsi:nil="true"/>
    <lcf76f155ced4ddcb4097134ff3c332f xmlns="f20c0227-cd56-4308-824c-c6cc38600aa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B2016377908E49B58F98942142B01C" ma:contentTypeVersion="15" ma:contentTypeDescription="Create a new document." ma:contentTypeScope="" ma:versionID="2e09a47247dc5faf869983a01c3b4833">
  <xsd:schema xmlns:xsd="http://www.w3.org/2001/XMLSchema" xmlns:xs="http://www.w3.org/2001/XMLSchema" xmlns:p="http://schemas.microsoft.com/office/2006/metadata/properties" xmlns:ns2="f20c0227-cd56-4308-824c-c6cc38600aa1" xmlns:ns3="ac058ed9-a6ef-478b-ad4a-b3737a97ccd4" targetNamespace="http://schemas.microsoft.com/office/2006/metadata/properties" ma:root="true" ma:fieldsID="825862a92f7c1f43634efbd1a21f20ed" ns2:_="" ns3:_="">
    <xsd:import namespace="f20c0227-cd56-4308-824c-c6cc38600aa1"/>
    <xsd:import namespace="ac058ed9-a6ef-478b-ad4a-b3737a97cc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0c0227-cd56-4308-824c-c6cc38600a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9f3d7e7-d3d6-46a0-94d5-e54816f1787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058ed9-a6ef-478b-ad4a-b3737a97ccd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ca755a9-5115-4a52-9de2-6f0cd7c1c525}" ma:internalName="TaxCatchAll" ma:showField="CatchAllData" ma:web="ac058ed9-a6ef-478b-ad4a-b3737a97ccd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C4608B-D9EE-4646-A741-36816E255F41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f20c0227-cd56-4308-824c-c6cc38600aa1"/>
    <ds:schemaRef ds:uri="http://schemas.microsoft.com/office/2006/metadata/properties"/>
    <ds:schemaRef ds:uri="ac058ed9-a6ef-478b-ad4a-b3737a97ccd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EC8A0BF-6E1A-43DC-BBF6-CE1EB277CE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B68829-A99D-4BE9-A16F-843BDA8FC8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0c0227-cd56-4308-824c-c6cc38600aa1"/>
    <ds:schemaRef ds:uri="ac058ed9-a6ef-478b-ad4a-b3737a97cc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75</TotalTime>
  <Words>1364</Words>
  <Application>Microsoft Macintosh PowerPoint</Application>
  <PresentationFormat>Widescreen</PresentationFormat>
  <Paragraphs>397</Paragraphs>
  <Slides>3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Consolas</vt:lpstr>
      <vt:lpstr>Helvetica Neue</vt:lpstr>
      <vt:lpstr>Office Theme</vt:lpstr>
      <vt:lpstr>think-cell Slide</vt:lpstr>
      <vt:lpstr>Scale Up with Python</vt:lpstr>
      <vt:lpstr>Outline</vt:lpstr>
      <vt:lpstr>What is Python?</vt:lpstr>
      <vt:lpstr>What is Programming?</vt:lpstr>
      <vt:lpstr>Drawing Distinctions</vt:lpstr>
      <vt:lpstr>For what exactly?</vt:lpstr>
      <vt:lpstr>Levelling Up</vt:lpstr>
      <vt:lpstr>Where does Python fit in?</vt:lpstr>
      <vt:lpstr>Python</vt:lpstr>
      <vt:lpstr>Python</vt:lpstr>
      <vt:lpstr>Python</vt:lpstr>
      <vt:lpstr>Python</vt:lpstr>
      <vt:lpstr>Python</vt:lpstr>
      <vt:lpstr>How can we start using it?</vt:lpstr>
      <vt:lpstr>Python</vt:lpstr>
      <vt:lpstr>Python</vt:lpstr>
      <vt:lpstr>Python</vt:lpstr>
      <vt:lpstr>Python</vt:lpstr>
      <vt:lpstr>Python</vt:lpstr>
      <vt:lpstr>Python</vt:lpstr>
      <vt:lpstr>Questions?</vt:lpstr>
      <vt:lpstr>Let’s get coding!</vt:lpstr>
      <vt:lpstr>LINK</vt:lpstr>
      <vt:lpstr>Overview</vt:lpstr>
      <vt:lpstr>Overview</vt:lpstr>
      <vt:lpstr>Overview</vt:lpstr>
      <vt:lpstr>Overview</vt:lpstr>
      <vt:lpstr>Overview</vt:lpstr>
      <vt:lpstr>Let’s take a break</vt:lpstr>
      <vt:lpstr>What about at Acin?</vt:lpstr>
      <vt:lpstr>Python @ Acin Now</vt:lpstr>
      <vt:lpstr>Python @ Acin – For the Future</vt:lpstr>
      <vt:lpstr>Python @ Acin – For the Future</vt:lpstr>
      <vt:lpstr>Alright, let’s really get coding!  </vt:lpstr>
      <vt:lpstr>Mini-Tasks</vt:lpstr>
      <vt:lpstr>LINK</vt:lpstr>
      <vt:lpstr>Questions?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le Up with Python</dc:title>
  <dc:creator>Toby Lewis</dc:creator>
  <cp:lastModifiedBy>Toby Lewis</cp:lastModifiedBy>
  <cp:revision>1</cp:revision>
  <dcterms:created xsi:type="dcterms:W3CDTF">2023-08-22T15:40:32Z</dcterms:created>
  <dcterms:modified xsi:type="dcterms:W3CDTF">2023-09-04T14:2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B2016377908E49B58F98942142B01C</vt:lpwstr>
  </property>
  <property fmtid="{D5CDD505-2E9C-101B-9397-08002B2CF9AE}" pid="3" name="MediaServiceImageTags">
    <vt:lpwstr/>
  </property>
</Properties>
</file>